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7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8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9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91" r:id="rId1"/>
    <p:sldMasterId id="2147483720" r:id="rId2"/>
    <p:sldMasterId id="2147483730" r:id="rId3"/>
    <p:sldMasterId id="2147483773" r:id="rId4"/>
    <p:sldMasterId id="2147483788" r:id="rId5"/>
    <p:sldMasterId id="2147483800" r:id="rId6"/>
    <p:sldMasterId id="2147483812" r:id="rId7"/>
    <p:sldMasterId id="2147483825" r:id="rId8"/>
  </p:sldMasterIdLst>
  <p:notesMasterIdLst>
    <p:notesMasterId r:id="rId11"/>
  </p:notesMasterIdLst>
  <p:sldIdLst>
    <p:sldId id="326" r:id="rId9"/>
    <p:sldId id="327" r:id="rId10"/>
  </p:sldIdLst>
  <p:sldSz cx="12192000" cy="6858000"/>
  <p:notesSz cx="6797675" cy="9926638"/>
  <p:custDataLst>
    <p:tags r:id="rId1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Киселев Артемий Вячеславович" initials="КАВ" lastIdx="3" clrIdx="0">
    <p:extLst>
      <p:ext uri="{19B8F6BF-5375-455C-9EA6-DF929625EA0E}">
        <p15:presenceInfo xmlns:p15="http://schemas.microsoft.com/office/powerpoint/2012/main" userId="Киселев Артемий Вячеславович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770"/>
    <a:srgbClr val="DDFFFD"/>
    <a:srgbClr val="51626F"/>
    <a:srgbClr val="808080"/>
    <a:srgbClr val="6D6F64"/>
    <a:srgbClr val="002F5F"/>
    <a:srgbClr val="F79BA6"/>
    <a:srgbClr val="CC6600"/>
    <a:srgbClr val="4C6C9C"/>
    <a:srgbClr val="33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352" autoAdjust="0"/>
    <p:restoredTop sz="95226" autoAdjust="0"/>
  </p:normalViewPr>
  <p:slideViewPr>
    <p:cSldViewPr snapToGrid="0">
      <p:cViewPr varScale="1">
        <p:scale>
          <a:sx n="78" d="100"/>
          <a:sy n="78" d="100"/>
        </p:scale>
        <p:origin x="1242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slide" Target="slides/slide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88246D-4199-4EA5-B496-AC4DE941FA7B}" type="datetimeFigureOut">
              <a:rPr lang="ru-RU" smtClean="0"/>
              <a:t>28.06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1D2D7D-7027-4041-B9B4-465B66E57B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08285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3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7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7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10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10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4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1.bin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.jpeg"/><Relationship Id="rId2" Type="http://schemas.openxmlformats.org/officeDocument/2006/relationships/tags" Target="../tags/tag41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6.png"/><Relationship Id="rId2" Type="http://schemas.openxmlformats.org/officeDocument/2006/relationships/tags" Target="../tags/tag42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\\atlas-old\Департамент_по_коммуникациям\Отдел_управления_брендом\Фирменный стиль\Шаблон презентаций\купол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90" t="14957" r="19446" b="9402"/>
          <a:stretch/>
        </p:blipFill>
        <p:spPr bwMode="auto">
          <a:xfrm>
            <a:off x="335360" y="252000"/>
            <a:ext cx="576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36000" y="4291200"/>
            <a:ext cx="5424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January 00, 2000, City</a:t>
            </a:r>
            <a:br>
              <a:rPr lang="en-US" dirty="0"/>
            </a:br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Speaker’s title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336000" y="5083200"/>
            <a:ext cx="5568619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TITLE GOES HERE </a:t>
            </a:r>
            <a:br>
              <a:rPr lang="en-US" dirty="0"/>
            </a:br>
            <a:r>
              <a:rPr lang="en-US" dirty="0"/>
              <a:t>IN TAHOMA</a:t>
            </a:r>
            <a:br>
              <a:rPr lang="en-US" dirty="0"/>
            </a:br>
            <a:r>
              <a:rPr lang="en-US" dirty="0"/>
              <a:t>(LIGHT+BOLD)</a:t>
            </a:r>
          </a:p>
        </p:txBody>
      </p:sp>
      <p:pic>
        <p:nvPicPr>
          <p:cNvPr id="1027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1957" y="245078"/>
            <a:ext cx="3264363" cy="582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27767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150" t="12640" r="24692" b="13358"/>
          <a:stretch/>
        </p:blipFill>
        <p:spPr>
          <a:xfrm>
            <a:off x="431371" y="252000"/>
            <a:ext cx="5664629" cy="627334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36000" y="4291200"/>
            <a:ext cx="5424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00 января 2000, Город</a:t>
            </a:r>
            <a:br>
              <a:rPr lang="ru-RU" dirty="0"/>
            </a:b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 докладчика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336000" y="5083200"/>
            <a:ext cx="5568619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ШРИФТОМ </a:t>
            </a:r>
            <a:r>
              <a:rPr lang="en-US" dirty="0"/>
              <a:t>TAHOMA </a:t>
            </a:r>
            <a:br>
              <a:rPr lang="en-US" dirty="0"/>
            </a:br>
            <a:r>
              <a:rPr lang="en-US" dirty="0"/>
              <a:t>(</a:t>
            </a:r>
            <a:r>
              <a:rPr lang="ru-RU" dirty="0"/>
              <a:t>ОБЫЧН+ЖИРН)</a:t>
            </a:r>
          </a:p>
        </p:txBody>
      </p:sp>
      <p:pic>
        <p:nvPicPr>
          <p:cNvPr id="1026" name="Picture 2" descr="\\atlas-old\Департамент_по_коммуникациям\Отдел_управления_брендом\Фирменный стиль\Шаблон презентаций\ЛОГО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1957" y="252000"/>
            <a:ext cx="3264363" cy="582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1751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5519936" y="6520260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882584C-6866-48D0-A87A-36F6604A4B48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562584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\\office.micex.com\Public\Files\Департамент_по_коммуникациям\Отдел_управления_брендом\Фирменный_стиль\Шаблон_презентаций\Шаблоны с выбором фото\высотка1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43" r="185"/>
          <a:stretch/>
        </p:blipFill>
        <p:spPr bwMode="auto">
          <a:xfrm>
            <a:off x="335360" y="252000"/>
            <a:ext cx="576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36000" y="4291200"/>
            <a:ext cx="5424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00 января 2000, Город</a:t>
            </a:r>
            <a:br>
              <a:rPr lang="ru-RU" dirty="0"/>
            </a:b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 докладчика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336000" y="5083200"/>
            <a:ext cx="5568619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ШРИФТОМ </a:t>
            </a:r>
            <a:r>
              <a:rPr lang="en-US" dirty="0"/>
              <a:t>TAHOMA </a:t>
            </a:r>
            <a:br>
              <a:rPr lang="en-US" dirty="0"/>
            </a:br>
            <a:r>
              <a:rPr lang="en-US" dirty="0"/>
              <a:t>(</a:t>
            </a:r>
            <a:r>
              <a:rPr lang="ru-RU" dirty="0"/>
              <a:t>ОБЫЧН+ЖИРН)</a:t>
            </a:r>
          </a:p>
        </p:txBody>
      </p:sp>
      <p:pic>
        <p:nvPicPr>
          <p:cNvPr id="1026" name="Picture 2" descr="\\atlas-old\Департамент_по_коммуникациям\Отдел_управления_брендом\Фирменный стиль\Шаблон презентаций\ЛОГО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1957" y="252000"/>
            <a:ext cx="3264363" cy="582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93999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3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40000" y="612000"/>
            <a:ext cx="72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0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1.0</a:t>
            </a:r>
            <a:br>
              <a:rPr lang="ru-RU" dirty="0"/>
            </a:br>
            <a:r>
              <a:rPr lang="ru-RU" dirty="0"/>
              <a:t>Заголовок (</a:t>
            </a:r>
            <a:r>
              <a:rPr lang="ru-RU" dirty="0" err="1"/>
              <a:t>обычн+жирн</a:t>
            </a:r>
            <a:r>
              <a:rPr lang="ru-RU" dirty="0"/>
              <a:t>)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59833" y="269875"/>
            <a:ext cx="28800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76000" y="6191251"/>
            <a:ext cx="221826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880000" y="6264001"/>
            <a:ext cx="2844800" cy="365125"/>
          </a:xfrm>
        </p:spPr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88908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 Слайд с буллетированным текстом и 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359833" y="269875"/>
            <a:ext cx="8636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60967" y="6191251"/>
            <a:ext cx="221826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Вертикальный текст 2"/>
          <p:cNvSpPr>
            <a:spLocks noGrp="1"/>
          </p:cNvSpPr>
          <p:nvPr>
            <p:ph type="body" orient="vert" idx="1" hasCustomPrompt="1"/>
          </p:nvPr>
        </p:nvSpPr>
        <p:spPr>
          <a:xfrm>
            <a:off x="1536000" y="1196752"/>
            <a:ext cx="9888000" cy="4538048"/>
          </a:xfrm>
          <a:prstGeom prst="rect">
            <a:avLst/>
          </a:prstGeom>
        </p:spPr>
        <p:txBody>
          <a:bodyPr vert="horz">
            <a:noAutofit/>
          </a:bodyPr>
          <a:lstStyle>
            <a:lvl1pPr marL="174625" indent="-174625" defTabSz="1976438">
              <a:spcBef>
                <a:spcPts val="1800"/>
              </a:spcBef>
              <a:buFont typeface="Wingdings" pitchFamily="2" charset="2"/>
              <a:buChar char="§"/>
              <a:defRPr sz="1200" baseline="0">
                <a:latin typeface="+mn-lt"/>
                <a:ea typeface="Verdana" pitchFamily="34" charset="0"/>
                <a:cs typeface="Verdana" pitchFamily="34" charset="0"/>
              </a:defRPr>
            </a:lvl1pPr>
            <a:lvl2pPr defTabSz="1976438">
              <a:defRPr sz="1200">
                <a:latin typeface="+mn-lt"/>
                <a:ea typeface="Verdana" pitchFamily="34" charset="0"/>
                <a:cs typeface="Verdana" pitchFamily="34" charset="0"/>
              </a:defRPr>
            </a:lvl2pPr>
            <a:lvl3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/>
              <a:t>Пункт номер один</a:t>
            </a:r>
          </a:p>
          <a:p>
            <a:pPr lvl="1"/>
            <a:r>
              <a:rPr lang="ru-RU" dirty="0"/>
              <a:t>Подпункт один</a:t>
            </a:r>
          </a:p>
          <a:p>
            <a:pPr lvl="1"/>
            <a:r>
              <a:rPr lang="ru-RU" dirty="0"/>
              <a:t>Подпункт два</a:t>
            </a:r>
          </a:p>
          <a:p>
            <a:pPr lvl="0"/>
            <a:r>
              <a:rPr lang="ru-RU" dirty="0"/>
              <a:t>Пункт номер два</a:t>
            </a:r>
          </a:p>
          <a:p>
            <a:pPr lvl="1"/>
            <a:r>
              <a:rPr lang="ru-RU" dirty="0"/>
              <a:t>Подпункт один</a:t>
            </a:r>
          </a:p>
          <a:p>
            <a:pPr lvl="1"/>
            <a:r>
              <a:rPr lang="ru-RU" dirty="0"/>
              <a:t>Подпункт два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36000" y="288000"/>
            <a:ext cx="9888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2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ЗАГОЛОВОК: </a:t>
            </a:r>
            <a:r>
              <a:rPr lang="en-US" dirty="0"/>
              <a:t>TAHOMA </a:t>
            </a:r>
            <a:r>
              <a:rPr lang="ru-RU" dirty="0"/>
              <a:t>2</a:t>
            </a:r>
            <a:r>
              <a:rPr lang="en-US" dirty="0"/>
              <a:t>2</a:t>
            </a:r>
            <a:r>
              <a:rPr lang="ru-RU" dirty="0"/>
              <a:t> ПТ ОБЫЧНЫЙ, ОКОНЧАНИЕ − ПОЛУЖИРНЫЙ!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74336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 Слайд с текстом и таблиц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946872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8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2000" b="0" i="0" baseline="0" dirty="0">
              <a:latin typeface="Tahoma" panose="020B0604030504040204" pitchFamily="34" charset="0"/>
              <a:ea typeface="Verdan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59833" y="269875"/>
            <a:ext cx="8636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36000" y="288000"/>
            <a:ext cx="10464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0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ЗАГОЛОВОК: </a:t>
            </a:r>
            <a:r>
              <a:rPr lang="en-US" dirty="0"/>
              <a:t>TAHOMA </a:t>
            </a:r>
            <a:r>
              <a:rPr lang="ru-RU" dirty="0"/>
              <a:t>20 ПТ ОБЫЧНЫЙ, ОКОНЧАНИЕ − ПОЛУЖИРНЫЙ!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880000" y="6264001"/>
            <a:ext cx="2844800" cy="365125"/>
          </a:xfrm>
        </p:spPr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11" name="Picture 209" descr="ÐÐ°ÑÑÐ¸Ð½ÐºÐ¸ Ð¿Ð¾ Ð·Ð°Ð¿ÑÐ¾ÑÑ Ð¼Ð¾ÑÐºÐ¾Ð²ÑÐºÐ°Ñ Ð±Ð¸ÑÐ¶Ð° Ð»Ð¾Ð³Ð¾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071" y="6192125"/>
            <a:ext cx="1661900" cy="3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29574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5_ Слайд с текстом и 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359833" y="269875"/>
            <a:ext cx="8636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pic>
        <p:nvPicPr>
          <p:cNvPr id="5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967" y="6191251"/>
            <a:ext cx="2218267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36000" y="332656"/>
            <a:ext cx="9888000" cy="620752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half" idx="2"/>
          </p:nvPr>
        </p:nvSpPr>
        <p:spPr>
          <a:xfrm>
            <a:off x="1535998" y="1097424"/>
            <a:ext cx="9936599" cy="4394032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4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r>
              <a:rPr lang="ru-RU" dirty="0"/>
              <a:t> </a:t>
            </a:r>
          </a:p>
          <a:p>
            <a:pPr lvl="0"/>
            <a:r>
              <a:rPr lang="ru-RU" dirty="0"/>
              <a:t> </a:t>
            </a:r>
          </a:p>
          <a:p>
            <a:pPr lvl="0"/>
            <a:r>
              <a:rPr lang="ru-RU" dirty="0"/>
              <a:t> </a:t>
            </a:r>
          </a:p>
          <a:p>
            <a:pPr lvl="0"/>
            <a:r>
              <a:rPr lang="ru-RU" dirty="0"/>
              <a:t> </a:t>
            </a:r>
          </a:p>
          <a:p>
            <a:pPr lvl="0"/>
            <a:r>
              <a:rPr lang="ru-RU" dirty="0"/>
              <a:t> </a:t>
            </a: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3983567" y="6191251"/>
            <a:ext cx="7103533" cy="360363"/>
          </a:xfrm>
        </p:spPr>
        <p:txBody>
          <a:bodyPr/>
          <a:lstStyle>
            <a:lvl1pPr algn="r" fontAlgn="base">
              <a:spcBef>
                <a:spcPct val="0"/>
              </a:spcBef>
              <a:spcAft>
                <a:spcPct val="0"/>
              </a:spcAft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11184467" y="6191251"/>
            <a:ext cx="480484" cy="360363"/>
          </a:xfrm>
        </p:spPr>
        <p:txBody>
          <a:bodyPr rIns="0" bIns="0"/>
          <a:lstStyle>
            <a:lvl1pPr algn="r" fontAlgn="base">
              <a:spcBef>
                <a:spcPct val="0"/>
              </a:spcBef>
              <a:spcAft>
                <a:spcPct val="0"/>
              </a:spcAft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81A71032-9433-4A1A-82BA-F3256F65274A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6991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4_ 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59833" y="269875"/>
            <a:ext cx="8636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pic>
        <p:nvPicPr>
          <p:cNvPr id="3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967" y="6191251"/>
            <a:ext cx="2218267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3983567" y="6191251"/>
            <a:ext cx="7103533" cy="360363"/>
          </a:xfrm>
        </p:spPr>
        <p:txBody>
          <a:bodyPr/>
          <a:lstStyle>
            <a:lvl1pPr algn="r" fontAlgn="base">
              <a:spcBef>
                <a:spcPct val="0"/>
              </a:spcBef>
              <a:spcAft>
                <a:spcPct val="0"/>
              </a:spcAft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11184467" y="6191251"/>
            <a:ext cx="480484" cy="360363"/>
          </a:xfrm>
        </p:spPr>
        <p:txBody>
          <a:bodyPr rIns="0" bIns="0"/>
          <a:lstStyle>
            <a:lvl1pPr algn="r" fontAlgn="base">
              <a:spcBef>
                <a:spcPct val="0"/>
              </a:spcBef>
              <a:spcAft>
                <a:spcPct val="0"/>
              </a:spcAft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C0B6784F-25A9-42E3-9433-F3467AC5D5CE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26973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 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223434" y="269875"/>
            <a:ext cx="10729217" cy="62075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1800" b="1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SLIDE TITLE GOES HERE: TAHOMA 26 PT LIGHT + BOLD FOR THE TAIL!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84000" y="6192000"/>
            <a:ext cx="48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E4E01335-259E-40F9-B4E1-7E4FDCDF6836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223433" y="1197152"/>
            <a:ext cx="10729217" cy="360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2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59833" y="269875"/>
            <a:ext cx="8636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pic>
        <p:nvPicPr>
          <p:cNvPr id="10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60967" y="6191251"/>
            <a:ext cx="222038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5807968" y="6192000"/>
            <a:ext cx="5280032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05691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 Слайд с текстом и таблиц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359836" y="269875"/>
            <a:ext cx="8636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60967" y="6191255"/>
            <a:ext cx="221826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36000" y="288000"/>
            <a:ext cx="10320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0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ЗАГОЛОВОК: </a:t>
            </a:r>
            <a:r>
              <a:rPr lang="en-US" dirty="0"/>
              <a:t>TAHOMA </a:t>
            </a:r>
            <a:r>
              <a:rPr lang="ru-RU" dirty="0"/>
              <a:t>2</a:t>
            </a:r>
            <a:r>
              <a:rPr lang="en-US" dirty="0"/>
              <a:t>2</a:t>
            </a:r>
            <a:r>
              <a:rPr lang="ru-RU" dirty="0"/>
              <a:t> ПТ ОБЫЧНЫЙ, ОКОНЧАНИЕ − ПОЛУЖИРНЫЙ!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880000" y="6264005"/>
            <a:ext cx="2844800" cy="365125"/>
          </a:xfrm>
        </p:spPr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13072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26471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8" name="Слайд think-cell" r:id="rId4" imgW="324" imgH="324" progId="TCLayout.ActiveDocument.1">
                  <p:embed/>
                </p:oleObj>
              </mc:Choice>
              <mc:Fallback>
                <p:oleObj name="Слайд think-cell" r:id="rId4" imgW="324" imgH="324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3" descr="\\office.micex.com\Public\Files\Департамент_по_коммуникациям\Отдел_управления_брендом\Фирменный_стиль\Шаблон_презентаций\Шаблоны с выбором фото\высотка1.jp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43" r="185"/>
          <a:stretch/>
        </p:blipFill>
        <p:spPr bwMode="auto">
          <a:xfrm>
            <a:off x="335360" y="252000"/>
            <a:ext cx="576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36000" y="4291200"/>
            <a:ext cx="5424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January 00, 2000, City</a:t>
            </a:r>
            <a:br>
              <a:rPr lang="en-US" dirty="0"/>
            </a:br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Speaker’s title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336000" y="5083200"/>
            <a:ext cx="5568619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TITLE GOES HERE </a:t>
            </a:r>
            <a:br>
              <a:rPr lang="en-US" dirty="0"/>
            </a:br>
            <a:r>
              <a:rPr lang="en-US" dirty="0"/>
              <a:t>IN TAHOMA</a:t>
            </a:r>
            <a:br>
              <a:rPr lang="en-US" dirty="0"/>
            </a:br>
            <a:r>
              <a:rPr lang="en-US" dirty="0"/>
              <a:t>(LIGHT+BOLD)</a:t>
            </a:r>
          </a:p>
        </p:txBody>
      </p:sp>
      <p:pic>
        <p:nvPicPr>
          <p:cNvPr id="9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3676" y="254312"/>
            <a:ext cx="2448272" cy="582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1833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 Слайд с текстом и таблиц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771694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2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000" b="0" i="0" baseline="0" dirty="0">
              <a:latin typeface="Tahoma" panose="020B0604030504040204" pitchFamily="34" charset="0"/>
              <a:ea typeface="Verdan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59833" y="269875"/>
            <a:ext cx="8636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36000" y="288000"/>
            <a:ext cx="10416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000" baseline="0">
                <a:latin typeface="+mn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SLIDE TITLE GOES HERE: TAHOMA 22 PT LIGHT + BOLD FOR THE TAIL!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184000" y="6264001"/>
            <a:ext cx="576064" cy="365125"/>
          </a:xfr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6" name="Picture 2" descr="H:\Moscow Exchange (ex-Micex-RTS) brandbook\MSCW_XCHNG_Master_Logo_Folder\PNG\ENGLISH\MSCW_XCHNG_RGB_ENG.pn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60967" y="6191251"/>
            <a:ext cx="222038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680107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\\atlas-old\Департамент_по_коммуникациям\Отдел_управления_брендом\Фирменный стиль\Шаблон презентаций\купол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90" t="14957" r="19446" b="9402"/>
          <a:stretch/>
        </p:blipFill>
        <p:spPr bwMode="auto">
          <a:xfrm>
            <a:off x="335360" y="252000"/>
            <a:ext cx="576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36000" y="4291200"/>
            <a:ext cx="5424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January 00, 2000, City</a:t>
            </a:r>
            <a:br>
              <a:rPr lang="en-US" dirty="0"/>
            </a:br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Speaker’s title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336000" y="5083200"/>
            <a:ext cx="5568619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TITLE GOES HERE </a:t>
            </a:r>
            <a:br>
              <a:rPr lang="en-US" dirty="0"/>
            </a:br>
            <a:r>
              <a:rPr lang="en-US" dirty="0"/>
              <a:t>IN TAHOMA</a:t>
            </a:r>
            <a:br>
              <a:rPr lang="en-US" dirty="0"/>
            </a:br>
            <a:r>
              <a:rPr lang="en-US" dirty="0"/>
              <a:t>(LIGHT+BOLD)</a:t>
            </a:r>
          </a:p>
        </p:txBody>
      </p:sp>
      <p:pic>
        <p:nvPicPr>
          <p:cNvPr id="1027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1957" y="245078"/>
            <a:ext cx="3264363" cy="582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23462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0" name="Слайд think-cell" r:id="rId4" imgW="324" imgH="324" progId="TCLayout.ActiveDocument.1">
                  <p:embed/>
                </p:oleObj>
              </mc:Choice>
              <mc:Fallback>
                <p:oleObj name="Слайд think-cell" r:id="rId4" imgW="324" imgH="324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3" descr="\\office.micex.com\Public\Files\Департамент_по_коммуникациям\Отдел_управления_брендом\Фирменный_стиль\Шаблон_презентаций\Шаблоны с выбором фото\высотка1.jp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43" r="185"/>
          <a:stretch/>
        </p:blipFill>
        <p:spPr bwMode="auto">
          <a:xfrm>
            <a:off x="335360" y="252000"/>
            <a:ext cx="576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36000" y="4291200"/>
            <a:ext cx="5424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January 00, 2000, City</a:t>
            </a:r>
            <a:br>
              <a:rPr lang="en-US" dirty="0"/>
            </a:br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Speaker’s title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336000" y="5083200"/>
            <a:ext cx="5568619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TITLE GOES HERE </a:t>
            </a:r>
            <a:br>
              <a:rPr lang="en-US" dirty="0"/>
            </a:br>
            <a:r>
              <a:rPr lang="en-US" dirty="0"/>
              <a:t>IN TAHOMA</a:t>
            </a:r>
            <a:br>
              <a:rPr lang="en-US" dirty="0"/>
            </a:br>
            <a:r>
              <a:rPr lang="en-US" dirty="0"/>
              <a:t>(LIGHT+BOLD)</a:t>
            </a:r>
          </a:p>
        </p:txBody>
      </p:sp>
      <p:pic>
        <p:nvPicPr>
          <p:cNvPr id="9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3676" y="254312"/>
            <a:ext cx="2448272" cy="582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41753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40000" y="612000"/>
            <a:ext cx="72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0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1.0</a:t>
            </a:r>
            <a:br>
              <a:rPr lang="en-US" dirty="0"/>
            </a:br>
            <a:r>
              <a:rPr lang="en-US" dirty="0" err="1"/>
              <a:t>Devider</a:t>
            </a:r>
            <a:r>
              <a:rPr lang="en-US" dirty="0"/>
              <a:t> title (</a:t>
            </a:r>
            <a:r>
              <a:rPr lang="en-US" dirty="0" err="1"/>
              <a:t>light+bold</a:t>
            </a:r>
            <a:r>
              <a:rPr lang="en-US" dirty="0"/>
              <a:t>)</a:t>
            </a: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359833" y="269875"/>
            <a:ext cx="28800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242476" y="6265888"/>
            <a:ext cx="576064" cy="365125"/>
          </a:xfrm>
        </p:spPr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7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4304" y="6084125"/>
            <a:ext cx="2118700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68800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 Слайд с буллетированным текстом и 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359833" y="269875"/>
            <a:ext cx="8636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Вертикальный текст 2"/>
          <p:cNvSpPr>
            <a:spLocks noGrp="1"/>
          </p:cNvSpPr>
          <p:nvPr>
            <p:ph type="body" orient="vert" idx="1" hasCustomPrompt="1"/>
          </p:nvPr>
        </p:nvSpPr>
        <p:spPr>
          <a:xfrm>
            <a:off x="1536000" y="1196752"/>
            <a:ext cx="9888000" cy="4538048"/>
          </a:xfrm>
          <a:prstGeom prst="rect">
            <a:avLst/>
          </a:prstGeom>
        </p:spPr>
        <p:txBody>
          <a:bodyPr vert="horz">
            <a:noAutofit/>
          </a:bodyPr>
          <a:lstStyle>
            <a:lvl1pPr marL="174625" indent="-174625" defTabSz="1976438">
              <a:spcBef>
                <a:spcPts val="1800"/>
              </a:spcBef>
              <a:buFont typeface="Wingdings" pitchFamily="2" charset="2"/>
              <a:buChar char="§"/>
              <a:defRPr sz="1200" baseline="0">
                <a:latin typeface="+mn-lt"/>
                <a:ea typeface="Verdana" pitchFamily="34" charset="0"/>
                <a:cs typeface="Verdana" pitchFamily="34" charset="0"/>
              </a:defRPr>
            </a:lvl1pPr>
            <a:lvl2pPr defTabSz="1976438">
              <a:defRPr sz="1200">
                <a:latin typeface="+mn-lt"/>
                <a:ea typeface="Verdana" pitchFamily="34" charset="0"/>
                <a:cs typeface="Verdana" pitchFamily="34" charset="0"/>
              </a:defRPr>
            </a:lvl2pPr>
            <a:lvl3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en-US" dirty="0"/>
              <a:t>Bullet point one</a:t>
            </a:r>
          </a:p>
          <a:p>
            <a:pPr lvl="1"/>
            <a:r>
              <a:rPr lang="en-US" dirty="0"/>
              <a:t>Sub point one</a:t>
            </a:r>
          </a:p>
          <a:p>
            <a:pPr lvl="1"/>
            <a:r>
              <a:rPr lang="en-US" dirty="0"/>
              <a:t>Sub point two</a:t>
            </a:r>
          </a:p>
          <a:p>
            <a:pPr lvl="0"/>
            <a:r>
              <a:rPr lang="en-US" dirty="0"/>
              <a:t>Bullet point two</a:t>
            </a:r>
          </a:p>
          <a:p>
            <a:pPr lvl="1"/>
            <a:r>
              <a:rPr lang="en-US" dirty="0"/>
              <a:t>Sub point one</a:t>
            </a:r>
          </a:p>
          <a:p>
            <a:pPr lvl="1"/>
            <a:r>
              <a:rPr lang="en-US" dirty="0"/>
              <a:t>Sub point two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36000" y="288000"/>
            <a:ext cx="9888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2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SLIDE TITLE GOES HERE: TAHOMA 22 PT LIGHT + BOLD FOR THE TAIL!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7" name="Picture 2" descr="H:\Moscow Exchange (ex-Micex-RTS) brandbook\MSCW_XCHNG_Master_Logo_Folder\PNG\ENGLISH\MSCW_XCHNG_RGB_ENG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60967" y="6191251"/>
            <a:ext cx="222038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396770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 Слайд с текстом и таблиц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5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359833" y="269875"/>
            <a:ext cx="8636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36000" y="288000"/>
            <a:ext cx="10656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0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SLIDE TITLE GOES HERE: TAHOMA 22 PT LIGHT + BOLD FOR THE TAIL!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242476" y="6265888"/>
            <a:ext cx="576064" cy="365125"/>
          </a:xfrm>
        </p:spPr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7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967" y="6134248"/>
            <a:ext cx="1908000" cy="453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016162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 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2"/>
          <p:cNvSpPr txBox="1">
            <a:spLocks/>
          </p:cNvSpPr>
          <p:nvPr/>
        </p:nvSpPr>
        <p:spPr>
          <a:xfrm>
            <a:off x="480484" y="539751"/>
            <a:ext cx="9599083" cy="1439863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Font typeface="Arial" charset="0"/>
              <a:buNone/>
              <a:defRPr/>
            </a:pPr>
            <a:r>
              <a:rPr lang="en-US" sz="4800" dirty="0">
                <a:solidFill>
                  <a:srgbClr val="000000"/>
                </a:solidFill>
                <a:latin typeface="Verdana" pitchFamily="34" charset="0"/>
              </a:rPr>
              <a:t>THANK</a:t>
            </a:r>
            <a:endParaRPr lang="ru-RU" sz="4800" dirty="0">
              <a:solidFill>
                <a:srgbClr val="000000"/>
              </a:solidFill>
              <a:latin typeface="Verdana" pitchFamily="34" charset="0"/>
            </a:endParaRPr>
          </a:p>
          <a:p>
            <a:pPr eaLnBrk="1" hangingPunct="1">
              <a:lnSpc>
                <a:spcPct val="90000"/>
              </a:lnSpc>
              <a:buFont typeface="Arial" charset="0"/>
              <a:buNone/>
              <a:defRPr/>
            </a:pPr>
            <a:r>
              <a:rPr lang="en-US" sz="4800" b="1" dirty="0">
                <a:solidFill>
                  <a:srgbClr val="000000"/>
                </a:solidFill>
                <a:latin typeface="Verdana" pitchFamily="34" charset="0"/>
              </a:rPr>
              <a:t>YOU</a:t>
            </a:r>
            <a:endParaRPr lang="ru-RU" sz="4800" b="1" dirty="0">
              <a:solidFill>
                <a:srgbClr val="000000"/>
              </a:solidFill>
              <a:latin typeface="Verdana" pitchFamily="34" charset="0"/>
            </a:endParaRPr>
          </a:p>
        </p:txBody>
      </p:sp>
      <p:pic>
        <p:nvPicPr>
          <p:cNvPr id="3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9452" y="5688013"/>
            <a:ext cx="3026833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435730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 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36000" y="269876"/>
            <a:ext cx="9888000" cy="638845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18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ЗАГОЛОВОК: </a:t>
            </a:r>
            <a:r>
              <a:rPr lang="en-US" dirty="0"/>
              <a:t>TAHOMA 18</a:t>
            </a:r>
            <a:r>
              <a:rPr lang="ru-RU" dirty="0"/>
              <a:t> ПТ ОБЫЧНЫЙ, ОКОНЧАНИЕ − ПОЛУЖИРНЫЙ!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84000" y="6192000"/>
            <a:ext cx="48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59833" y="269875"/>
            <a:ext cx="8636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60967" y="6191251"/>
            <a:ext cx="221826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903369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4_ 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223436" y="269876"/>
            <a:ext cx="10729217" cy="62075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1800" b="1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SLIDE TITLE GOES HERE: TAHOMA 26 PT LIGHT + BOLD FOR THE TAIL!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84000" y="6192000"/>
            <a:ext cx="48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E4E01335-259E-40F9-B4E1-7E4FDCDF6836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59835" y="269878"/>
            <a:ext cx="863600" cy="631825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163" tIns="51581" rIns="103163" bIns="51581"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0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60967" y="6191254"/>
            <a:ext cx="222038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5807968" y="6192000"/>
            <a:ext cx="5280032" cy="360000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9259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 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7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223436" y="269875"/>
            <a:ext cx="10729217" cy="62075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1800" b="1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SLIDE TITLE GOES HERE: TAHOMA 26 PT LIGHT + BOLD FOR THE TAIL!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84000" y="6192000"/>
            <a:ext cx="48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74055D07-2D92-414F-A42D-AA53D2D4FC92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223434" y="1197152"/>
            <a:ext cx="10729217" cy="360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2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59833" y="269875"/>
            <a:ext cx="8636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0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60967" y="6191253"/>
            <a:ext cx="222038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5807968" y="6192000"/>
            <a:ext cx="5280032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7987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2" name="Слайд think-cell" r:id="rId4" imgW="324" imgH="324" progId="TCLayout.ActiveDocument.1">
                  <p:embed/>
                </p:oleObj>
              </mc:Choice>
              <mc:Fallback>
                <p:oleObj name="Слайд think-cell" r:id="rId4" imgW="324" imgH="324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3" descr="\\office.micex.com\Public\Files\Департамент_по_коммуникациям\Отдел_управления_брендом\Фирменный_стиль\Шаблон_презентаций\Шаблоны с выбором фото\высотка1.jp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43" r="185"/>
          <a:stretch/>
        </p:blipFill>
        <p:spPr bwMode="auto">
          <a:xfrm>
            <a:off x="335360" y="252000"/>
            <a:ext cx="576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36000" y="4291200"/>
            <a:ext cx="5424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January 00, 2000, City</a:t>
            </a:r>
            <a:br>
              <a:rPr lang="en-US" dirty="0"/>
            </a:br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Speaker’s title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336000" y="5083200"/>
            <a:ext cx="5568619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TITLE GOES HERE </a:t>
            </a:r>
            <a:br>
              <a:rPr lang="en-US" dirty="0"/>
            </a:br>
            <a:r>
              <a:rPr lang="en-US" dirty="0"/>
              <a:t>IN TAHOMA</a:t>
            </a:r>
            <a:br>
              <a:rPr lang="en-US" dirty="0"/>
            </a:br>
            <a:r>
              <a:rPr lang="en-US" dirty="0"/>
              <a:t>(LIGHT+BOLD)</a:t>
            </a:r>
          </a:p>
        </p:txBody>
      </p:sp>
      <p:pic>
        <p:nvPicPr>
          <p:cNvPr id="8" name="Picture 209" descr="ÐÐ°ÑÑÐ¸Ð½ÐºÐ¸ Ð¿Ð¾ Ð·Ð°Ð¿ÑÐ¾ÑÑ Ð¼Ð¾ÑÐºÐ¾Ð²ÑÐºÐ°Ñ Ð±Ð¸ÑÐ¶Ð° Ð»Ð¾Ð³Ð¾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1526" y="252000"/>
            <a:ext cx="2254250" cy="537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38558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 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0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223436" y="269875"/>
            <a:ext cx="10729217" cy="62075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1800" b="1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SLIDE TITLE GOES HERE: TAHOMA 26 PT LIGHT + BOLD FOR THE TAIL!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84000" y="6192000"/>
            <a:ext cx="48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74055D07-2D92-414F-A42D-AA53D2D4FC92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223434" y="1197152"/>
            <a:ext cx="10729217" cy="360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2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59833" y="269875"/>
            <a:ext cx="8636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0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60967" y="6191253"/>
            <a:ext cx="222038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5807968" y="6192000"/>
            <a:ext cx="5280032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677030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 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2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223436" y="269875"/>
            <a:ext cx="10729217" cy="62075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1800" b="1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SLIDE TITLE GOES HERE: TAHOMA 26 PT LIGHT + BOLD FOR THE TAIL!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84000" y="6192000"/>
            <a:ext cx="48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74055D07-2D92-414F-A42D-AA53D2D4FC92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223434" y="1197152"/>
            <a:ext cx="10729217" cy="360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2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59833" y="269875"/>
            <a:ext cx="8636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0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60967" y="6191253"/>
            <a:ext cx="222038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5807968" y="6192000"/>
            <a:ext cx="5280032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95372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 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5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223436" y="269875"/>
            <a:ext cx="10729217" cy="62075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1800" b="1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SLIDE TITLE GOES HERE: TAHOMA 26 PT LIGHT + BOLD FOR THE TAIL!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84000" y="6192000"/>
            <a:ext cx="48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74055D07-2D92-414F-A42D-AA53D2D4FC92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223434" y="1197152"/>
            <a:ext cx="10729217" cy="360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2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59833" y="269875"/>
            <a:ext cx="8636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0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60967" y="6191253"/>
            <a:ext cx="222038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5807968" y="6192000"/>
            <a:ext cx="5280032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791478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 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74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prstClr val="white"/>
              </a:solidFill>
              <a:ea typeface="Verdan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223436" y="269875"/>
            <a:ext cx="10729217" cy="62075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1800" b="1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SLIDE TITLE GOES HERE: TAHOMA 26 PT LIGHT + BOLD FOR THE TAIL!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84000" y="6192000"/>
            <a:ext cx="48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74055D07-2D92-414F-A42D-AA53D2D4FC92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223434" y="1197152"/>
            <a:ext cx="10729217" cy="360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2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59833" y="269875"/>
            <a:ext cx="8636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0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60967" y="6191253"/>
            <a:ext cx="222038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5807968" y="6192000"/>
            <a:ext cx="5280032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08398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 Слайд с текстом и таблиц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98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dirty="0">
              <a:solidFill>
                <a:prstClr val="white"/>
              </a:solidFill>
              <a:ea typeface="Verdan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59833" y="269875"/>
            <a:ext cx="8636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36000" y="288000"/>
            <a:ext cx="10320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000" baseline="0">
                <a:latin typeface="+mn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ЗАГОЛОВОК: </a:t>
            </a:r>
            <a:r>
              <a:rPr lang="en-US" dirty="0"/>
              <a:t>TAHOMA </a:t>
            </a:r>
            <a:r>
              <a:rPr lang="ru-RU" dirty="0"/>
              <a:t>20 ПТ ОБЫЧНЫЙ, ПОЛУЖИРНЫЙ</a:t>
            </a:r>
          </a:p>
        </p:txBody>
      </p:sp>
      <p:pic>
        <p:nvPicPr>
          <p:cNvPr id="6" name="Picture 2" descr="H:\Moscow Exchange (ex-Micex-RTS) brandbook\MSCW_XCHNG_Master_Logo_Folder\PNG\ENGLISH\MSCW_XCHNG_RGB_ENG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967" y="6191251"/>
            <a:ext cx="2220384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280001" y="6264001"/>
            <a:ext cx="578687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926335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 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223433" y="269875"/>
            <a:ext cx="9888000" cy="11232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200" b="1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84000" y="6192000"/>
            <a:ext cx="48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78BBBA4D-B838-4F46-A4ED-169A2CCBC4E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59833" y="269875"/>
            <a:ext cx="863600" cy="6318250"/>
          </a:xfrm>
          <a:prstGeom prst="rect">
            <a:avLst/>
          </a:prstGeom>
          <a:solidFill>
            <a:srgbClr val="CCCCC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  <a:sym typeface="Tahoma"/>
            </a:endParaRPr>
          </a:p>
        </p:txBody>
      </p:sp>
      <p:pic>
        <p:nvPicPr>
          <p:cNvPr id="7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60962" y="6178550"/>
            <a:ext cx="1718592" cy="4095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2633987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46" name="Слайд think-cell" r:id="rId4" imgW="324" imgH="324" progId="TCLayout.ActiveDocument.1">
                  <p:embed/>
                </p:oleObj>
              </mc:Choice>
              <mc:Fallback>
                <p:oleObj name="Слайд think-cell" r:id="rId4" imgW="324" imgH="324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3" descr="\\office.micex.com\Public\Files\Департамент_по_коммуникациям\Отдел_управления_брендом\Фирменный_стиль\Шаблон_презентаций\Шаблоны с выбором фото\высотка1.jp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43" r="185"/>
          <a:stretch/>
        </p:blipFill>
        <p:spPr bwMode="auto">
          <a:xfrm>
            <a:off x="335360" y="252000"/>
            <a:ext cx="576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36000" y="4291200"/>
            <a:ext cx="5424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January 00, 2000, City</a:t>
            </a:r>
            <a:br>
              <a:rPr lang="en-US" dirty="0"/>
            </a:br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Speaker’s title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336000" y="5083200"/>
            <a:ext cx="5568619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TITLE GOES HERE </a:t>
            </a:r>
            <a:br>
              <a:rPr lang="en-US" dirty="0"/>
            </a:br>
            <a:r>
              <a:rPr lang="en-US" dirty="0"/>
              <a:t>IN TAHOMA</a:t>
            </a:r>
            <a:br>
              <a:rPr lang="en-US" dirty="0"/>
            </a:br>
            <a:r>
              <a:rPr lang="en-US" dirty="0"/>
              <a:t>(LIGHT+BOLD)</a:t>
            </a:r>
          </a:p>
        </p:txBody>
      </p:sp>
      <p:pic>
        <p:nvPicPr>
          <p:cNvPr id="8" name="Picture 209" descr="ÐÐ°ÑÑÐ¸Ð½ÐºÐ¸ Ð¿Ð¾ Ð·Ð°Ð¿ÑÐ¾ÑÑ Ð¼Ð¾ÑÐºÐ¾Ð²ÑÐºÐ°Ñ Ð±Ð¸ÑÐ¶Ð° Ð»Ð¾Ð³Ð¾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1526" y="252000"/>
            <a:ext cx="2254250" cy="537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36027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3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40000" y="612000"/>
            <a:ext cx="72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0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1.0</a:t>
            </a:r>
            <a:br>
              <a:rPr lang="ru-RU" dirty="0"/>
            </a:br>
            <a:r>
              <a:rPr lang="ru-RU" dirty="0"/>
              <a:t>Заголовок (</a:t>
            </a:r>
            <a:r>
              <a:rPr lang="ru-RU" dirty="0" err="1"/>
              <a:t>обычн+жирн</a:t>
            </a:r>
            <a:r>
              <a:rPr lang="ru-RU" dirty="0"/>
              <a:t>)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59833" y="269875"/>
            <a:ext cx="28800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pic>
        <p:nvPicPr>
          <p:cNvPr id="6" name="Picture 4" descr="H:\Moscow Exchange (ex-Micex-RTS) brandbook\MSCW_XCHNG_Master_Logo_Folder\PNG\RUSSIAN\MSCW_XCHNG_RGB_RUS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6373" y="6158738"/>
            <a:ext cx="1800000" cy="429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9003825" y="6219551"/>
            <a:ext cx="2844800" cy="365125"/>
          </a:xfrm>
        </p:spPr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853722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 Слайд с буллетированным текстом и 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359833" y="269875"/>
            <a:ext cx="8636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60967" y="6191251"/>
            <a:ext cx="221826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Вертикальный текст 2"/>
          <p:cNvSpPr>
            <a:spLocks noGrp="1"/>
          </p:cNvSpPr>
          <p:nvPr>
            <p:ph type="body" orient="vert" idx="1" hasCustomPrompt="1"/>
          </p:nvPr>
        </p:nvSpPr>
        <p:spPr>
          <a:xfrm>
            <a:off x="1536000" y="1196752"/>
            <a:ext cx="9888000" cy="4538048"/>
          </a:xfrm>
          <a:prstGeom prst="rect">
            <a:avLst/>
          </a:prstGeom>
        </p:spPr>
        <p:txBody>
          <a:bodyPr vert="horz">
            <a:noAutofit/>
          </a:bodyPr>
          <a:lstStyle>
            <a:lvl1pPr marL="174625" indent="-174625" defTabSz="1976438">
              <a:spcBef>
                <a:spcPts val="1800"/>
              </a:spcBef>
              <a:buFont typeface="Wingdings" pitchFamily="2" charset="2"/>
              <a:buChar char="§"/>
              <a:defRPr sz="1200" baseline="0">
                <a:latin typeface="+mn-lt"/>
                <a:ea typeface="Verdana" pitchFamily="34" charset="0"/>
                <a:cs typeface="Verdana" pitchFamily="34" charset="0"/>
              </a:defRPr>
            </a:lvl1pPr>
            <a:lvl2pPr defTabSz="1976438">
              <a:defRPr sz="1200">
                <a:latin typeface="+mn-lt"/>
                <a:ea typeface="Verdana" pitchFamily="34" charset="0"/>
                <a:cs typeface="Verdana" pitchFamily="34" charset="0"/>
              </a:defRPr>
            </a:lvl2pPr>
            <a:lvl3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/>
              <a:t>Пункт номер один</a:t>
            </a:r>
          </a:p>
          <a:p>
            <a:pPr lvl="1"/>
            <a:r>
              <a:rPr lang="ru-RU" dirty="0"/>
              <a:t>Подпункт один</a:t>
            </a:r>
          </a:p>
          <a:p>
            <a:pPr lvl="1"/>
            <a:r>
              <a:rPr lang="ru-RU" dirty="0"/>
              <a:t>Подпункт два</a:t>
            </a:r>
          </a:p>
          <a:p>
            <a:pPr lvl="0"/>
            <a:r>
              <a:rPr lang="ru-RU" dirty="0"/>
              <a:t>Пункт номер два</a:t>
            </a:r>
          </a:p>
          <a:p>
            <a:pPr lvl="1"/>
            <a:r>
              <a:rPr lang="ru-RU" dirty="0"/>
              <a:t>Подпункт один</a:t>
            </a:r>
          </a:p>
          <a:p>
            <a:pPr lvl="1"/>
            <a:r>
              <a:rPr lang="ru-RU" dirty="0"/>
              <a:t>Подпункт два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36000" y="288000"/>
            <a:ext cx="9888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2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ЗАГОЛОВОК: </a:t>
            </a:r>
            <a:r>
              <a:rPr lang="en-US" dirty="0"/>
              <a:t>TAHOMA </a:t>
            </a:r>
            <a:r>
              <a:rPr lang="ru-RU" dirty="0"/>
              <a:t>2</a:t>
            </a:r>
            <a:r>
              <a:rPr lang="en-US" dirty="0"/>
              <a:t>2</a:t>
            </a:r>
            <a:r>
              <a:rPr lang="ru-RU" dirty="0"/>
              <a:t> ПТ ОБЫЧНЫЙ, ОКОНЧАНИЕ − ПОЛУЖИРНЫЙ!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412799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 Слайд с текстом и таблиц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0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2000" b="0" i="0" baseline="0" dirty="0">
              <a:latin typeface="Tahoma" panose="020B0604030504040204" pitchFamily="34" charset="0"/>
              <a:ea typeface="Verdan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59833" y="269875"/>
            <a:ext cx="8636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36000" y="288000"/>
            <a:ext cx="10464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0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ЗАГОЛОВОК: </a:t>
            </a:r>
            <a:r>
              <a:rPr lang="en-US" dirty="0"/>
              <a:t>TAHOMA </a:t>
            </a:r>
            <a:r>
              <a:rPr lang="ru-RU" dirty="0"/>
              <a:t>20 ПТ ОБЫЧНЫЙ, ОКОНЧАНИЕ − ПОЛУЖИРНЫЙ!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880000" y="6264001"/>
            <a:ext cx="2844800" cy="365125"/>
          </a:xfrm>
        </p:spPr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11" name="Picture 4" descr="H:\Moscow Exchange (ex-Micex-RTS) brandbook\MSCW_XCHNG_Master_Logo_Folder\PNG\RUSSIAN\MSCW_XCHNG_RGB_RUS.pn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06123" y="6158738"/>
            <a:ext cx="1800000" cy="429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576308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40000" y="612000"/>
            <a:ext cx="72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0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1.0</a:t>
            </a:r>
            <a:br>
              <a:rPr lang="en-US" dirty="0"/>
            </a:br>
            <a:r>
              <a:rPr lang="en-US" dirty="0" err="1"/>
              <a:t>Devider</a:t>
            </a:r>
            <a:r>
              <a:rPr lang="en-US" dirty="0"/>
              <a:t> title (</a:t>
            </a:r>
            <a:r>
              <a:rPr lang="en-US" dirty="0" err="1"/>
              <a:t>light+bold</a:t>
            </a:r>
            <a:r>
              <a:rPr lang="en-US" dirty="0"/>
              <a:t>)</a:t>
            </a: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359833" y="269875"/>
            <a:ext cx="28800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pic>
        <p:nvPicPr>
          <p:cNvPr id="6" name="Picture 2" descr="H:\Moscow Exchange (ex-Micex-RTS) brandbook\MSCW_XCHNG_Master_Logo_Folder\PNG\ENGLISH\MSCW_XCHNG_RGB_ENG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76033" y="6191251"/>
            <a:ext cx="222038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242476" y="6265888"/>
            <a:ext cx="576064" cy="365125"/>
          </a:xfrm>
        </p:spPr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73486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5_ Слайд с текстом и 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359833" y="269875"/>
            <a:ext cx="8636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pic>
        <p:nvPicPr>
          <p:cNvPr id="5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967" y="6191251"/>
            <a:ext cx="2218267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36000" y="332656"/>
            <a:ext cx="9888000" cy="620752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half" idx="2"/>
          </p:nvPr>
        </p:nvSpPr>
        <p:spPr>
          <a:xfrm>
            <a:off x="1535998" y="1097424"/>
            <a:ext cx="9936599" cy="4394032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4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r>
              <a:rPr lang="ru-RU" dirty="0"/>
              <a:t> </a:t>
            </a:r>
          </a:p>
          <a:p>
            <a:pPr lvl="0"/>
            <a:r>
              <a:rPr lang="ru-RU" dirty="0"/>
              <a:t> </a:t>
            </a:r>
          </a:p>
          <a:p>
            <a:pPr lvl="0"/>
            <a:r>
              <a:rPr lang="ru-RU" dirty="0"/>
              <a:t> </a:t>
            </a:r>
          </a:p>
          <a:p>
            <a:pPr lvl="0"/>
            <a:r>
              <a:rPr lang="ru-RU" dirty="0"/>
              <a:t> </a:t>
            </a:r>
          </a:p>
          <a:p>
            <a:pPr lvl="0"/>
            <a:r>
              <a:rPr lang="ru-RU" dirty="0"/>
              <a:t> </a:t>
            </a: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3983567" y="6191251"/>
            <a:ext cx="7103533" cy="360363"/>
          </a:xfrm>
        </p:spPr>
        <p:txBody>
          <a:bodyPr/>
          <a:lstStyle>
            <a:lvl1pPr algn="r" fontAlgn="base">
              <a:spcBef>
                <a:spcPct val="0"/>
              </a:spcBef>
              <a:spcAft>
                <a:spcPct val="0"/>
              </a:spcAft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11184467" y="6191251"/>
            <a:ext cx="480484" cy="360363"/>
          </a:xfrm>
        </p:spPr>
        <p:txBody>
          <a:bodyPr rIns="0" bIns="0"/>
          <a:lstStyle>
            <a:lvl1pPr algn="r" fontAlgn="base">
              <a:spcBef>
                <a:spcPct val="0"/>
              </a:spcBef>
              <a:spcAft>
                <a:spcPct val="0"/>
              </a:spcAft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81A71032-9433-4A1A-82BA-F3256F65274A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2511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 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223434" y="269875"/>
            <a:ext cx="10729217" cy="62075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1800" b="1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SLIDE TITLE GOES HERE: TAHOMA 26 PT LIGHT + BOLD FOR THE TAIL!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84000" y="6192000"/>
            <a:ext cx="48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E4E01335-259E-40F9-B4E1-7E4FDCDF6836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223433" y="1197152"/>
            <a:ext cx="10729217" cy="360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2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Simple text goes here in Tahoma regular Sentence Case 16 </a:t>
            </a:r>
            <a:r>
              <a:rPr lang="en-US" dirty="0" err="1"/>
              <a:t>pt</a:t>
            </a:r>
            <a:r>
              <a:rPr lang="en-US" dirty="0"/>
              <a:t> 1,4 lines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59833" y="269875"/>
            <a:ext cx="8636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pic>
        <p:nvPicPr>
          <p:cNvPr id="10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60967" y="6191251"/>
            <a:ext cx="222038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5807968" y="6192000"/>
            <a:ext cx="5280032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50314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 Слайд с текстом и таблиц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359836" y="269875"/>
            <a:ext cx="8636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60967" y="6191255"/>
            <a:ext cx="221826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36000" y="288000"/>
            <a:ext cx="10320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0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ЗАГОЛОВОК: </a:t>
            </a:r>
            <a:r>
              <a:rPr lang="en-US" dirty="0"/>
              <a:t>TAHOMA </a:t>
            </a:r>
            <a:r>
              <a:rPr lang="ru-RU" dirty="0"/>
              <a:t>2</a:t>
            </a:r>
            <a:r>
              <a:rPr lang="en-US" dirty="0"/>
              <a:t>2</a:t>
            </a:r>
            <a:r>
              <a:rPr lang="ru-RU" dirty="0"/>
              <a:t> ПТ ОБЫЧНЫЙ, ОКОНЧАНИЕ − ПОЛУЖИРНЫЙ!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880000" y="6264005"/>
            <a:ext cx="2844800" cy="365125"/>
          </a:xfrm>
        </p:spPr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1196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 Слайд с текстом и таблиц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94" name="Слайд think-cell" r:id="rId5" imgW="324" imgH="324" progId="TCLayout.ActiveDocument.1">
                  <p:embed/>
                </p:oleObj>
              </mc:Choice>
              <mc:Fallback>
                <p:oleObj name="Слайд think-cell" r:id="rId5" imgW="324" imgH="324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2000" b="0" i="0" baseline="0" dirty="0">
              <a:latin typeface="Tahoma" panose="020B0604030504040204" pitchFamily="34" charset="0"/>
              <a:ea typeface="Verdan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59833" y="269875"/>
            <a:ext cx="8636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60967" y="6191251"/>
            <a:ext cx="221826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36000" y="288000"/>
            <a:ext cx="10464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0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ЗАГОЛОВОК: </a:t>
            </a:r>
            <a:r>
              <a:rPr lang="en-US" dirty="0"/>
              <a:t>TAHOMA </a:t>
            </a:r>
            <a:r>
              <a:rPr lang="ru-RU" dirty="0"/>
              <a:t>20 ПТ ОБЫЧНЫЙ, ОКОНЧАНИЕ − ПОЛУЖИРНЫЙ!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880000" y="6264001"/>
            <a:ext cx="2844800" cy="365125"/>
          </a:xfrm>
        </p:spPr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65335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3FC23F-6AF8-4C19-B898-40974662BB7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17141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 Слайд с текстом и таблиц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1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359836" y="269875"/>
            <a:ext cx="8636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36000" y="288000"/>
            <a:ext cx="9888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2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SLIDE TITLE GOES HERE: TAHOMA 22 PT LIGHT + BOLD FOR THE TAIL!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976320" y="6284942"/>
            <a:ext cx="2844800" cy="365125"/>
          </a:xfrm>
        </p:spPr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7" name="Picture 4" descr="H:\Moscow Exchange (ex-Micex-RTS) brandbook\MSCW_XCHNG_Master_Logo_Folder\PNG\RUSSIAN\MSCW_XCHNG_RGB_RUS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967" y="6191255"/>
            <a:ext cx="2218267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402710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 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984000" y="6192000"/>
            <a:ext cx="7104000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84000" y="6192000"/>
            <a:ext cx="48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35360" y="6191251"/>
            <a:ext cx="221826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59834" y="269875"/>
            <a:ext cx="11592817" cy="62075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1800" b="1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SLIDE TITLE GOES HERE: TAHOMA 26 PT LIGHT + BOLD FOR THE TAIL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0866369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 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36000" y="269876"/>
            <a:ext cx="9888000" cy="638845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18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ЗАГОЛОВОК: </a:t>
            </a:r>
            <a:r>
              <a:rPr lang="en-US" dirty="0"/>
              <a:t>TAHOMA 18</a:t>
            </a:r>
            <a:r>
              <a:rPr lang="ru-RU" dirty="0"/>
              <a:t> ПТ ОБЫЧНЫЙ, ОКОНЧАНИЕ − ПОЛУЖИРНЫЙ!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84000" y="6192000"/>
            <a:ext cx="48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59833" y="269875"/>
            <a:ext cx="8636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60967" y="6191251"/>
            <a:ext cx="221826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3952803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 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36000" y="269876"/>
            <a:ext cx="9888000" cy="638845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18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ЗАГОЛОВОК: </a:t>
            </a:r>
            <a:r>
              <a:rPr lang="en-US" dirty="0"/>
              <a:t>TAHOMA 18</a:t>
            </a:r>
            <a:r>
              <a:rPr lang="ru-RU" dirty="0"/>
              <a:t> ПТ ОБЫЧНЫЙ, ОКОНЧАНИЕ − ПОЛУЖИРНЫЙ!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84000" y="6192000"/>
            <a:ext cx="48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59833" y="269875"/>
            <a:ext cx="8636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60967" y="6191251"/>
            <a:ext cx="221826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7450352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1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\\atlas-old\Департамент_по_коммуникациям\Отдел_управления_брендом\Фирменный стиль\Шаблон презентаций\купол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90" t="14957" r="19446" b="9402"/>
          <a:stretch/>
        </p:blipFill>
        <p:spPr bwMode="auto">
          <a:xfrm>
            <a:off x="335360" y="252000"/>
            <a:ext cx="576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36000" y="4291200"/>
            <a:ext cx="5424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00 января 2000, Город</a:t>
            </a:r>
            <a:br>
              <a:rPr lang="ru-RU" dirty="0"/>
            </a:b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 докладчика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336003" y="5083200"/>
            <a:ext cx="5568619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ШРИФТОМ </a:t>
            </a:r>
            <a:r>
              <a:rPr lang="en-US" dirty="0"/>
              <a:t>TAHOMA </a:t>
            </a:r>
            <a:br>
              <a:rPr lang="en-US" dirty="0"/>
            </a:br>
            <a:r>
              <a:rPr lang="en-US" dirty="0"/>
              <a:t>(</a:t>
            </a:r>
            <a:r>
              <a:rPr lang="ru-RU" dirty="0"/>
              <a:t>ОБЫЧН+ЖИРН)</a:t>
            </a:r>
          </a:p>
        </p:txBody>
      </p:sp>
      <p:pic>
        <p:nvPicPr>
          <p:cNvPr id="7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2891" y="254011"/>
            <a:ext cx="3263900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\\atlas-old\Департамент_по_коммуникациям\Отдел_управления_брендом\Фирменный стиль\Шаблон презентаций\купол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90" t="14957" r="19446" b="9402"/>
          <a:stretch/>
        </p:blipFill>
        <p:spPr bwMode="auto">
          <a:xfrm>
            <a:off x="335360" y="252000"/>
            <a:ext cx="576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2891" y="254011"/>
            <a:ext cx="3263900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144348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 Слайд с буллетированным текстом и 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359833" y="269875"/>
            <a:ext cx="8636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" name="Вертикальный текст 2"/>
          <p:cNvSpPr>
            <a:spLocks noGrp="1"/>
          </p:cNvSpPr>
          <p:nvPr>
            <p:ph type="body" orient="vert" idx="1" hasCustomPrompt="1"/>
          </p:nvPr>
        </p:nvSpPr>
        <p:spPr>
          <a:xfrm>
            <a:off x="1536000" y="1196752"/>
            <a:ext cx="9888000" cy="4538048"/>
          </a:xfrm>
          <a:prstGeom prst="rect">
            <a:avLst/>
          </a:prstGeom>
        </p:spPr>
        <p:txBody>
          <a:bodyPr vert="horz">
            <a:noAutofit/>
          </a:bodyPr>
          <a:lstStyle>
            <a:lvl1pPr marL="174625" indent="-174625" defTabSz="1976438">
              <a:spcBef>
                <a:spcPts val="1800"/>
              </a:spcBef>
              <a:buFont typeface="Wingdings" pitchFamily="2" charset="2"/>
              <a:buChar char="§"/>
              <a:defRPr sz="1200" baseline="0">
                <a:latin typeface="+mn-lt"/>
                <a:ea typeface="Verdana" pitchFamily="34" charset="0"/>
                <a:cs typeface="Verdana" pitchFamily="34" charset="0"/>
              </a:defRPr>
            </a:lvl1pPr>
            <a:lvl2pPr defTabSz="1976438">
              <a:defRPr sz="1200">
                <a:latin typeface="+mn-lt"/>
                <a:ea typeface="Verdana" pitchFamily="34" charset="0"/>
                <a:cs typeface="Verdana" pitchFamily="34" charset="0"/>
              </a:defRPr>
            </a:lvl2pPr>
            <a:lvl3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en-US" dirty="0"/>
              <a:t>Bullet point one</a:t>
            </a:r>
          </a:p>
          <a:p>
            <a:pPr lvl="1"/>
            <a:r>
              <a:rPr lang="en-US" dirty="0"/>
              <a:t>Sub point one</a:t>
            </a:r>
          </a:p>
          <a:p>
            <a:pPr lvl="1"/>
            <a:r>
              <a:rPr lang="en-US" dirty="0"/>
              <a:t>Sub point two</a:t>
            </a:r>
          </a:p>
          <a:p>
            <a:pPr lvl="0"/>
            <a:r>
              <a:rPr lang="en-US" dirty="0"/>
              <a:t>Bullet point two</a:t>
            </a:r>
          </a:p>
          <a:p>
            <a:pPr lvl="1"/>
            <a:r>
              <a:rPr lang="en-US" dirty="0"/>
              <a:t>Sub point one</a:t>
            </a:r>
          </a:p>
          <a:p>
            <a:pPr lvl="1"/>
            <a:r>
              <a:rPr lang="en-US" dirty="0"/>
              <a:t>Sub point two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36000" y="288000"/>
            <a:ext cx="9888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2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SLIDE TITLE GOES HERE: TAHOMA 22 PT LIGHT + BOLD FOR THE TAIL!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7" name="Picture 2" descr="H:\Moscow Exchange (ex-Micex-RTS) brandbook\MSCW_XCHNG_Master_Logo_Folder\PNG\ENGLISH\MSCW_XCHNG_RGB_ENG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60967" y="6191251"/>
            <a:ext cx="222038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3297424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\\office.micex.com\Public\Files\Департамент_по_коммуникациям\Отдел_управления_брендом\Фирменный_стиль\Шаблон_презентаций\Шаблоны с выбором фото\высотка1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43" r="185"/>
          <a:stretch/>
        </p:blipFill>
        <p:spPr bwMode="auto">
          <a:xfrm>
            <a:off x="335360" y="252000"/>
            <a:ext cx="576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36000" y="4291200"/>
            <a:ext cx="5424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00 января 2000, Город</a:t>
            </a:r>
            <a:br>
              <a:rPr lang="ru-RU" dirty="0"/>
            </a:b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 докладчика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336003" y="5083200"/>
            <a:ext cx="5568619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ШРИФТОМ </a:t>
            </a:r>
            <a:r>
              <a:rPr lang="en-US" dirty="0"/>
              <a:t>TAHOMA </a:t>
            </a:r>
            <a:br>
              <a:rPr lang="en-US" dirty="0"/>
            </a:br>
            <a:r>
              <a:rPr lang="en-US" dirty="0"/>
              <a:t>(</a:t>
            </a:r>
            <a:r>
              <a:rPr lang="ru-RU" dirty="0"/>
              <a:t>ОБЫЧН+ЖИРН)</a:t>
            </a:r>
          </a:p>
        </p:txBody>
      </p:sp>
      <p:pic>
        <p:nvPicPr>
          <p:cNvPr id="6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2891" y="254011"/>
            <a:ext cx="3263900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0728696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\\office.micex.com\Public\Files\Департамент_по_коммуникациям\Отдел_управления_брендом\Фирменный_стиль\Шаблон_презентаций\Шаблоны с выбором фото\ГУМ1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" r="11929"/>
          <a:stretch/>
        </p:blipFill>
        <p:spPr bwMode="auto">
          <a:xfrm>
            <a:off x="335360" y="252000"/>
            <a:ext cx="576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36000" y="4291200"/>
            <a:ext cx="5424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00 января 2000, Город</a:t>
            </a:r>
            <a:br>
              <a:rPr lang="ru-RU" dirty="0"/>
            </a:b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 докладчика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336003" y="5083200"/>
            <a:ext cx="5568619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ШРИФТОМ </a:t>
            </a:r>
            <a:r>
              <a:rPr lang="en-US" dirty="0"/>
              <a:t>TAHOMA </a:t>
            </a:r>
            <a:br>
              <a:rPr lang="en-US" dirty="0"/>
            </a:br>
            <a:r>
              <a:rPr lang="en-US" dirty="0"/>
              <a:t>(</a:t>
            </a:r>
            <a:r>
              <a:rPr lang="ru-RU" dirty="0"/>
              <a:t>ОБЫЧН+ЖИРН)</a:t>
            </a:r>
          </a:p>
        </p:txBody>
      </p:sp>
      <p:pic>
        <p:nvPicPr>
          <p:cNvPr id="6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2891" y="254011"/>
            <a:ext cx="3263900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7942571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5" y="159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4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Объект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5" y="159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36000" y="4291200"/>
            <a:ext cx="5424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00 января 2000, Город</a:t>
            </a:r>
            <a:br>
              <a:rPr lang="ru-RU" dirty="0"/>
            </a:b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 докладчика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336003" y="5083200"/>
            <a:ext cx="5568619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ШРИФТОМ </a:t>
            </a:r>
            <a:r>
              <a:rPr lang="en-US" dirty="0"/>
              <a:t>TAHOMA </a:t>
            </a:r>
            <a:br>
              <a:rPr lang="en-US" dirty="0"/>
            </a:br>
            <a:r>
              <a:rPr lang="en-US" dirty="0"/>
              <a:t>(</a:t>
            </a:r>
            <a:r>
              <a:rPr lang="ru-RU" dirty="0"/>
              <a:t>ОБЫЧН+ЖИРН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35360" y="270000"/>
            <a:ext cx="5760640" cy="6327352"/>
          </a:xfrm>
          <a:prstGeom prst="rect">
            <a:avLst/>
          </a:prstGeom>
          <a:solidFill>
            <a:srgbClr val="6163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pic>
        <p:nvPicPr>
          <p:cNvPr id="6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2891" y="270011"/>
            <a:ext cx="3263900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9771287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335360" y="269879"/>
            <a:ext cx="5760640" cy="6327477"/>
          </a:xfrm>
          <a:prstGeom prst="rect">
            <a:avLst/>
          </a:prstGeom>
          <a:solidFill>
            <a:srgbClr val="5162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36000" y="4291200"/>
            <a:ext cx="5424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00 января 2000, Город</a:t>
            </a:r>
            <a:br>
              <a:rPr lang="ru-RU" dirty="0"/>
            </a:b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 докладчика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336003" y="5083200"/>
            <a:ext cx="5568619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ШРИФТОМ </a:t>
            </a:r>
            <a:r>
              <a:rPr lang="en-US" dirty="0"/>
              <a:t>TAHOMA </a:t>
            </a:r>
            <a:br>
              <a:rPr lang="en-US" dirty="0"/>
            </a:br>
            <a:r>
              <a:rPr lang="en-US" dirty="0"/>
              <a:t>(</a:t>
            </a:r>
            <a:r>
              <a:rPr lang="ru-RU" dirty="0"/>
              <a:t>ОБЫЧН+ЖИРН)</a:t>
            </a:r>
          </a:p>
        </p:txBody>
      </p:sp>
      <p:pic>
        <p:nvPicPr>
          <p:cNvPr id="7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2891" y="270011"/>
            <a:ext cx="3263900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4852520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2_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359840" y="269886"/>
            <a:ext cx="11472333" cy="6183461"/>
          </a:xfrm>
          <a:prstGeom prst="rect">
            <a:avLst/>
          </a:prstGeom>
          <a:solidFill>
            <a:srgbClr val="51626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/>
        </p:nvSpPr>
        <p:spPr>
          <a:xfrm>
            <a:off x="1536707" y="828675"/>
            <a:ext cx="5418667" cy="719138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Font typeface="Arial" charset="0"/>
              <a:buNone/>
              <a:defRPr/>
            </a:pPr>
            <a:r>
              <a:rPr lang="ru-RU" sz="2600" dirty="0">
                <a:solidFill>
                  <a:prstClr val="white"/>
                </a:solidFill>
                <a:latin typeface="Tahoma"/>
              </a:rPr>
              <a:t>СОДЕРЖАНИЕ</a:t>
            </a:r>
            <a:endParaRPr lang="ru-RU" sz="2600" b="1" dirty="0">
              <a:solidFill>
                <a:prstClr val="white"/>
              </a:solidFill>
              <a:latin typeface="Tahoma"/>
            </a:endParaRPr>
          </a:p>
        </p:txBody>
      </p:sp>
      <p:sp>
        <p:nvSpPr>
          <p:cNvPr id="11" name="Вертикальный текст 2"/>
          <p:cNvSpPr>
            <a:spLocks noGrp="1"/>
          </p:cNvSpPr>
          <p:nvPr>
            <p:ph type="body" orient="vert" idx="1" hasCustomPrompt="1"/>
          </p:nvPr>
        </p:nvSpPr>
        <p:spPr>
          <a:xfrm>
            <a:off x="1536000" y="2134800"/>
            <a:ext cx="9024000" cy="3382432"/>
          </a:xfrm>
          <a:prstGeom prst="rect">
            <a:avLst/>
          </a:prstGeom>
        </p:spPr>
        <p:txBody>
          <a:bodyPr vert="horz" numCol="2">
            <a:noAutofit/>
          </a:bodyPr>
          <a:lstStyle>
            <a:lvl1pPr marL="174625" indent="-174625" defTabSz="1976438">
              <a:spcBef>
                <a:spcPts val="1800"/>
              </a:spcBef>
              <a:buFont typeface="Wingdings" pitchFamily="2" charset="2"/>
              <a:buChar char="§"/>
              <a:defRPr sz="1600" baseline="0">
                <a:solidFill>
                  <a:schemeClr val="bg1">
                    <a:lumMod val="95000"/>
                  </a:schemeClr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defTabSz="1976438">
              <a:defRPr sz="1600">
                <a:solidFill>
                  <a:schemeClr val="bg1">
                    <a:lumMod val="95000"/>
                  </a:schemeClr>
                </a:solidFill>
                <a:latin typeface="+mj-lt"/>
                <a:ea typeface="Verdana" pitchFamily="34" charset="0"/>
                <a:cs typeface="Verdana" pitchFamily="34" charset="0"/>
              </a:defRPr>
            </a:lvl2pPr>
            <a:lvl3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/>
              <a:t>Пункт номер один</a:t>
            </a:r>
          </a:p>
          <a:p>
            <a:pPr lvl="1"/>
            <a:r>
              <a:rPr lang="ru-RU" dirty="0"/>
              <a:t>Подпункт один</a:t>
            </a:r>
          </a:p>
          <a:p>
            <a:pPr lvl="1"/>
            <a:r>
              <a:rPr lang="ru-RU" dirty="0"/>
              <a:t>Подпункт два</a:t>
            </a:r>
          </a:p>
          <a:p>
            <a:pPr lvl="0"/>
            <a:r>
              <a:rPr lang="ru-RU" dirty="0"/>
              <a:t>Пункт номер два</a:t>
            </a:r>
          </a:p>
          <a:p>
            <a:pPr lvl="1"/>
            <a:r>
              <a:rPr lang="ru-RU" dirty="0"/>
              <a:t>Подпункт один</a:t>
            </a:r>
          </a:p>
          <a:p>
            <a:pPr lvl="1"/>
            <a:r>
              <a:rPr lang="ru-RU" dirty="0"/>
              <a:t>Подпункт два</a:t>
            </a:r>
          </a:p>
          <a:p>
            <a:pPr lvl="0"/>
            <a:r>
              <a:rPr lang="ru-RU" dirty="0"/>
              <a:t>Пункт номер два</a:t>
            </a:r>
          </a:p>
          <a:p>
            <a:pPr lvl="1"/>
            <a:r>
              <a:rPr lang="ru-RU" dirty="0"/>
              <a:t>Подпункт один</a:t>
            </a:r>
          </a:p>
          <a:p>
            <a:pPr lvl="1"/>
            <a:r>
              <a:rPr lang="ru-RU" dirty="0"/>
              <a:t>Подпункт два</a:t>
            </a:r>
          </a:p>
          <a:p>
            <a:pPr lvl="0"/>
            <a:r>
              <a:rPr lang="ru-RU" dirty="0"/>
              <a:t>Пункт номер два</a:t>
            </a:r>
          </a:p>
          <a:p>
            <a:pPr lvl="1"/>
            <a:r>
              <a:rPr lang="ru-RU" dirty="0"/>
              <a:t>Подпункт один</a:t>
            </a:r>
          </a:p>
          <a:p>
            <a:pPr lvl="1"/>
            <a:r>
              <a:rPr lang="ru-RU" dirty="0"/>
              <a:t>Подпункт два</a:t>
            </a:r>
          </a:p>
          <a:p>
            <a:pPr lvl="0"/>
            <a:r>
              <a:rPr lang="ru-RU" dirty="0"/>
              <a:t>Пункт номер два</a:t>
            </a:r>
          </a:p>
          <a:p>
            <a:pPr lvl="1"/>
            <a:r>
              <a:rPr lang="ru-RU" dirty="0"/>
              <a:t>Подпункт один</a:t>
            </a:r>
          </a:p>
          <a:p>
            <a:pPr lvl="1"/>
            <a:r>
              <a:rPr lang="ru-RU" dirty="0"/>
              <a:t>Подпункт два</a:t>
            </a:r>
          </a:p>
          <a:p>
            <a:pPr lvl="1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5824D8-E4B2-4879-9E59-0A10E3F7F3E1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061324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3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40000" y="612000"/>
            <a:ext cx="72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0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1.0</a:t>
            </a:r>
            <a:br>
              <a:rPr lang="ru-RU" dirty="0"/>
            </a:br>
            <a:r>
              <a:rPr lang="ru-RU" dirty="0"/>
              <a:t>Заголовок (</a:t>
            </a:r>
            <a:r>
              <a:rPr lang="ru-RU" dirty="0" err="1"/>
              <a:t>обычн+жирн</a:t>
            </a:r>
            <a:r>
              <a:rPr lang="ru-RU" dirty="0"/>
              <a:t>)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59833" y="269875"/>
            <a:ext cx="28800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pic>
        <p:nvPicPr>
          <p:cNvPr id="6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6033" y="6191261"/>
            <a:ext cx="2220384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176931" y="6209891"/>
            <a:ext cx="578687" cy="365125"/>
          </a:xfrm>
        </p:spPr>
        <p:txBody>
          <a:bodyPr/>
          <a:lstStyle/>
          <a:p>
            <a:fld id="{A35824D8-E4B2-4879-9E59-0A10E3F7F3E1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797963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6_ Слайд с буллетированным текстом и 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359840" y="269875"/>
            <a:ext cx="8636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" name="Вертикальный текст 2"/>
          <p:cNvSpPr>
            <a:spLocks noGrp="1"/>
          </p:cNvSpPr>
          <p:nvPr>
            <p:ph type="body" orient="vert" idx="1" hasCustomPrompt="1"/>
          </p:nvPr>
        </p:nvSpPr>
        <p:spPr>
          <a:xfrm>
            <a:off x="1536000" y="1196752"/>
            <a:ext cx="9888000" cy="4538048"/>
          </a:xfrm>
          <a:prstGeom prst="rect">
            <a:avLst/>
          </a:prstGeom>
        </p:spPr>
        <p:txBody>
          <a:bodyPr vert="horz">
            <a:noAutofit/>
          </a:bodyPr>
          <a:lstStyle>
            <a:lvl1pPr marL="174625" indent="-174625" defTabSz="1976438">
              <a:spcBef>
                <a:spcPts val="1800"/>
              </a:spcBef>
              <a:buFont typeface="Wingdings" pitchFamily="2" charset="2"/>
              <a:buChar char="§"/>
              <a:defRPr sz="1200" baseline="0">
                <a:latin typeface="+mn-lt"/>
                <a:ea typeface="Verdana" pitchFamily="34" charset="0"/>
                <a:cs typeface="Verdana" pitchFamily="34" charset="0"/>
              </a:defRPr>
            </a:lvl1pPr>
            <a:lvl2pPr defTabSz="1976438">
              <a:defRPr sz="1200">
                <a:latin typeface="+mn-lt"/>
                <a:ea typeface="Verdana" pitchFamily="34" charset="0"/>
                <a:cs typeface="Verdana" pitchFamily="34" charset="0"/>
              </a:defRPr>
            </a:lvl2pPr>
            <a:lvl3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/>
              <a:t>Пункт номер один</a:t>
            </a:r>
          </a:p>
          <a:p>
            <a:pPr lvl="1"/>
            <a:r>
              <a:rPr lang="ru-RU" dirty="0"/>
              <a:t>Подпункт один</a:t>
            </a:r>
          </a:p>
          <a:p>
            <a:pPr lvl="1"/>
            <a:r>
              <a:rPr lang="ru-RU" dirty="0"/>
              <a:t>Подпункт два</a:t>
            </a:r>
          </a:p>
          <a:p>
            <a:pPr lvl="0"/>
            <a:r>
              <a:rPr lang="ru-RU" dirty="0"/>
              <a:t>Пункт номер два</a:t>
            </a:r>
          </a:p>
          <a:p>
            <a:pPr lvl="1"/>
            <a:r>
              <a:rPr lang="ru-RU" dirty="0"/>
              <a:t>Подпункт один</a:t>
            </a:r>
          </a:p>
          <a:p>
            <a:pPr lvl="1"/>
            <a:r>
              <a:rPr lang="ru-RU" dirty="0"/>
              <a:t>Подпункт два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36000" y="288000"/>
            <a:ext cx="9888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2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ЗАГОЛОВОК: </a:t>
            </a:r>
            <a:r>
              <a:rPr lang="en-US" dirty="0"/>
              <a:t>TAHOMA </a:t>
            </a:r>
            <a:r>
              <a:rPr lang="ru-RU" dirty="0"/>
              <a:t>2</a:t>
            </a:r>
            <a:r>
              <a:rPr lang="en-US" dirty="0"/>
              <a:t>2</a:t>
            </a:r>
            <a:r>
              <a:rPr lang="ru-RU" dirty="0"/>
              <a:t> ПТ ОБЫЧНЫЙ, ОКОНЧАНИЕ − ПОЛУЖИРНЫЙ!</a:t>
            </a:r>
          </a:p>
        </p:txBody>
      </p:sp>
      <p:pic>
        <p:nvPicPr>
          <p:cNvPr id="7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967" y="6191261"/>
            <a:ext cx="2220384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176931" y="6209891"/>
            <a:ext cx="578687" cy="365125"/>
          </a:xfrm>
        </p:spPr>
        <p:txBody>
          <a:bodyPr/>
          <a:lstStyle/>
          <a:p>
            <a:fld id="{A35824D8-E4B2-4879-9E59-0A10E3F7F3E1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15954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7_ Слайд с текстом и таблиц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359840" y="269875"/>
            <a:ext cx="8636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36000" y="288000"/>
            <a:ext cx="9888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2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ЗАГОЛОВОК: </a:t>
            </a:r>
            <a:r>
              <a:rPr lang="en-US" dirty="0"/>
              <a:t>TAHOMA </a:t>
            </a:r>
            <a:r>
              <a:rPr lang="ru-RU" dirty="0"/>
              <a:t>2</a:t>
            </a:r>
            <a:r>
              <a:rPr lang="en-US" dirty="0"/>
              <a:t>2</a:t>
            </a:r>
            <a:r>
              <a:rPr lang="ru-RU" dirty="0"/>
              <a:t> ПТ ОБЫЧНЫЙ, ОКОНЧАНИЕ − ПОЛУЖИРНЫЙ!</a:t>
            </a:r>
          </a:p>
        </p:txBody>
      </p:sp>
      <p:pic>
        <p:nvPicPr>
          <p:cNvPr id="6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967" y="6191261"/>
            <a:ext cx="2220384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176931" y="6209891"/>
            <a:ext cx="578687" cy="365125"/>
          </a:xfrm>
        </p:spPr>
        <p:txBody>
          <a:bodyPr/>
          <a:lstStyle/>
          <a:p>
            <a:fld id="{A35824D8-E4B2-4879-9E59-0A10E3F7F3E1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847809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\\atlas-old\Департамент_по_коммуникациям\Отдел_управления_брендом\Фирменный стиль\Шаблон презентаций\купол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90" t="14957" r="19446" b="9402"/>
          <a:stretch/>
        </p:blipFill>
        <p:spPr bwMode="auto">
          <a:xfrm>
            <a:off x="335360" y="252000"/>
            <a:ext cx="576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36000" y="4291200"/>
            <a:ext cx="5424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00 января 2000, Город</a:t>
            </a:r>
            <a:br>
              <a:rPr lang="ru-RU" dirty="0"/>
            </a:b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 докладчика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336003" y="5083200"/>
            <a:ext cx="5568619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ШРИФТОМ </a:t>
            </a:r>
            <a:r>
              <a:rPr lang="en-US" dirty="0"/>
              <a:t>TAHOMA </a:t>
            </a:r>
            <a:br>
              <a:rPr lang="en-US" dirty="0"/>
            </a:br>
            <a:r>
              <a:rPr lang="en-US" dirty="0"/>
              <a:t>(</a:t>
            </a:r>
            <a:r>
              <a:rPr lang="ru-RU" dirty="0"/>
              <a:t>ОБЫЧН+ЖИРН)</a:t>
            </a:r>
          </a:p>
        </p:txBody>
      </p:sp>
      <p:pic>
        <p:nvPicPr>
          <p:cNvPr id="7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2891" y="254011"/>
            <a:ext cx="3263900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9670028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\\atlas-old\Департамент_по_коммуникациям\Отдел_управления_брендом\Фирменный стиль\Шаблон презентаций\купол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90" t="14957" r="19446" b="9402"/>
          <a:stretch/>
        </p:blipFill>
        <p:spPr bwMode="auto">
          <a:xfrm>
            <a:off x="335360" y="252000"/>
            <a:ext cx="576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36000" y="4291200"/>
            <a:ext cx="5424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015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00 января 2000, Город</a:t>
            </a:r>
            <a:br>
              <a:rPr lang="ru-RU" dirty="0"/>
            </a:b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 докладчика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336003" y="5083200"/>
            <a:ext cx="5568619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ШРИФТОМ </a:t>
            </a:r>
            <a:r>
              <a:rPr lang="en-US" dirty="0"/>
              <a:t>TAHOMA </a:t>
            </a:r>
            <a:br>
              <a:rPr lang="en-US" dirty="0"/>
            </a:br>
            <a:r>
              <a:rPr lang="en-US" dirty="0"/>
              <a:t>(</a:t>
            </a:r>
            <a:r>
              <a:rPr lang="ru-RU" dirty="0"/>
              <a:t>ОБЫЧН+ЖИРН)</a:t>
            </a:r>
          </a:p>
        </p:txBody>
      </p:sp>
      <p:pic>
        <p:nvPicPr>
          <p:cNvPr id="7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2891" y="254011"/>
            <a:ext cx="3263900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729881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 Слайд с текстом и таблиц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452361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359833" y="269875"/>
            <a:ext cx="8636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36000" y="288000"/>
            <a:ext cx="10656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0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SLIDE TITLE GOES HERE: TAHOMA 22 PT LIGHT + BOLD FOR THE TAIL!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242476" y="6265888"/>
            <a:ext cx="576064" cy="365125"/>
          </a:xfrm>
        </p:spPr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7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967" y="6084125"/>
            <a:ext cx="2118700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190236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\\office.micex.com\Public\Files\Департамент_по_коммуникациям\Отдел_управления_брендом\Фирменный_стиль\Шаблон_презентаций\Шаблоны с выбором фото\высотка1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43" r="185"/>
          <a:stretch/>
        </p:blipFill>
        <p:spPr bwMode="auto">
          <a:xfrm>
            <a:off x="335360" y="252000"/>
            <a:ext cx="576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36000" y="4291200"/>
            <a:ext cx="5424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015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00 января 2000, Город</a:t>
            </a:r>
            <a:br>
              <a:rPr lang="ru-RU" dirty="0"/>
            </a:b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 докладчика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336003" y="5083200"/>
            <a:ext cx="5568619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ШРИФТОМ </a:t>
            </a:r>
            <a:r>
              <a:rPr lang="en-US" dirty="0"/>
              <a:t>TAHOMA </a:t>
            </a:r>
            <a:br>
              <a:rPr lang="en-US" dirty="0"/>
            </a:br>
            <a:r>
              <a:rPr lang="en-US" dirty="0"/>
              <a:t>(</a:t>
            </a:r>
            <a:r>
              <a:rPr lang="ru-RU" dirty="0"/>
              <a:t>ОБЫЧН+ЖИРН)</a:t>
            </a:r>
          </a:p>
        </p:txBody>
      </p:sp>
      <p:pic>
        <p:nvPicPr>
          <p:cNvPr id="6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2891" y="254011"/>
            <a:ext cx="3263900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4199076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\\office.micex.com\Public\Files\Департамент_по_коммуникациям\Отдел_управления_брендом\Фирменный_стиль\Шаблон_презентаций\Шаблоны с выбором фото\ГУМ1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" r="11929"/>
          <a:stretch/>
        </p:blipFill>
        <p:spPr bwMode="auto">
          <a:xfrm>
            <a:off x="335360" y="252000"/>
            <a:ext cx="576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36000" y="4291200"/>
            <a:ext cx="5424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015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00 января 2000, Город</a:t>
            </a:r>
            <a:br>
              <a:rPr lang="ru-RU" dirty="0"/>
            </a:b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 докладчика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336003" y="5083200"/>
            <a:ext cx="5568619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ШРИФТОМ </a:t>
            </a:r>
            <a:r>
              <a:rPr lang="en-US" dirty="0"/>
              <a:t>TAHOMA </a:t>
            </a:r>
            <a:br>
              <a:rPr lang="en-US" dirty="0"/>
            </a:br>
            <a:r>
              <a:rPr lang="en-US" dirty="0"/>
              <a:t>(</a:t>
            </a:r>
            <a:r>
              <a:rPr lang="ru-RU" dirty="0"/>
              <a:t>ОБЫЧН+ЖИРН)</a:t>
            </a:r>
          </a:p>
        </p:txBody>
      </p:sp>
      <p:pic>
        <p:nvPicPr>
          <p:cNvPr id="6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2891" y="254011"/>
            <a:ext cx="3263900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1802724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5" y="159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6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Объект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5" y="159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36000" y="4291200"/>
            <a:ext cx="5424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015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00 января 2000, Город</a:t>
            </a:r>
            <a:br>
              <a:rPr lang="ru-RU" dirty="0"/>
            </a:b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 докладчика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336003" y="5083200"/>
            <a:ext cx="5568619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ШРИФТОМ </a:t>
            </a:r>
            <a:r>
              <a:rPr lang="en-US" dirty="0"/>
              <a:t>TAHOMA </a:t>
            </a:r>
            <a:br>
              <a:rPr lang="en-US" dirty="0"/>
            </a:br>
            <a:r>
              <a:rPr lang="en-US" dirty="0"/>
              <a:t>(</a:t>
            </a:r>
            <a:r>
              <a:rPr lang="ru-RU" dirty="0"/>
              <a:t>ОБЫЧН+ЖИРН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35360" y="270000"/>
            <a:ext cx="5760640" cy="6327352"/>
          </a:xfrm>
          <a:prstGeom prst="rect">
            <a:avLst/>
          </a:prstGeom>
          <a:solidFill>
            <a:srgbClr val="6163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62">
              <a:solidFill>
                <a:prstClr val="white"/>
              </a:solidFill>
            </a:endParaRPr>
          </a:p>
        </p:txBody>
      </p:sp>
      <p:pic>
        <p:nvPicPr>
          <p:cNvPr id="6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2891" y="270011"/>
            <a:ext cx="3263900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0212500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335360" y="269879"/>
            <a:ext cx="5760640" cy="6327477"/>
          </a:xfrm>
          <a:prstGeom prst="rect">
            <a:avLst/>
          </a:prstGeom>
          <a:solidFill>
            <a:srgbClr val="5162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62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36000" y="4291200"/>
            <a:ext cx="5424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015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00 января 2000, Город</a:t>
            </a:r>
            <a:br>
              <a:rPr lang="ru-RU" dirty="0"/>
            </a:b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 докладчика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336003" y="5083200"/>
            <a:ext cx="5568619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ШРИФТОМ </a:t>
            </a:r>
            <a:r>
              <a:rPr lang="en-US" dirty="0"/>
              <a:t>TAHOMA </a:t>
            </a:r>
            <a:br>
              <a:rPr lang="en-US" dirty="0"/>
            </a:br>
            <a:r>
              <a:rPr lang="en-US" dirty="0"/>
              <a:t>(</a:t>
            </a:r>
            <a:r>
              <a:rPr lang="ru-RU" dirty="0"/>
              <a:t>ОБЫЧН+ЖИРН)</a:t>
            </a:r>
          </a:p>
        </p:txBody>
      </p:sp>
      <p:pic>
        <p:nvPicPr>
          <p:cNvPr id="7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2891" y="270011"/>
            <a:ext cx="3263900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791657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2_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359840" y="269886"/>
            <a:ext cx="11472333" cy="6183461"/>
          </a:xfrm>
          <a:prstGeom prst="rect">
            <a:avLst/>
          </a:prstGeom>
          <a:solidFill>
            <a:srgbClr val="51626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662">
              <a:solidFill>
                <a:prstClr val="white"/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/>
        </p:nvSpPr>
        <p:spPr>
          <a:xfrm>
            <a:off x="1536707" y="828675"/>
            <a:ext cx="5418667" cy="719138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Font typeface="Arial" charset="0"/>
              <a:buNone/>
              <a:defRPr/>
            </a:pPr>
            <a:r>
              <a:rPr lang="ru-RU" sz="2400" dirty="0">
                <a:solidFill>
                  <a:prstClr val="white"/>
                </a:solidFill>
                <a:latin typeface="Tahoma"/>
                <a:ea typeface="ＭＳ Ｐゴシック"/>
              </a:rPr>
              <a:t>СОДЕРЖАНИЕ</a:t>
            </a:r>
            <a:endParaRPr lang="ru-RU" sz="2400" b="1" dirty="0">
              <a:solidFill>
                <a:prstClr val="white"/>
              </a:solidFill>
              <a:latin typeface="Tahoma"/>
              <a:ea typeface="ＭＳ Ｐゴシック"/>
            </a:endParaRPr>
          </a:p>
        </p:txBody>
      </p:sp>
      <p:sp>
        <p:nvSpPr>
          <p:cNvPr id="11" name="Вертикальный текст 2"/>
          <p:cNvSpPr>
            <a:spLocks noGrp="1"/>
          </p:cNvSpPr>
          <p:nvPr>
            <p:ph type="body" orient="vert" idx="1" hasCustomPrompt="1"/>
          </p:nvPr>
        </p:nvSpPr>
        <p:spPr>
          <a:xfrm>
            <a:off x="1536000" y="2134800"/>
            <a:ext cx="9024000" cy="3382432"/>
          </a:xfrm>
          <a:prstGeom prst="rect">
            <a:avLst/>
          </a:prstGeom>
        </p:spPr>
        <p:txBody>
          <a:bodyPr vert="horz" numCol="2">
            <a:noAutofit/>
          </a:bodyPr>
          <a:lstStyle>
            <a:lvl1pPr marL="161196" indent="-161196" defTabSz="1824450">
              <a:spcBef>
                <a:spcPts val="1662"/>
              </a:spcBef>
              <a:buFont typeface="Wingdings" pitchFamily="2" charset="2"/>
              <a:buChar char="§"/>
              <a:defRPr sz="1477" baseline="0">
                <a:solidFill>
                  <a:schemeClr val="bg1">
                    <a:lumMod val="95000"/>
                  </a:schemeClr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defTabSz="1824450">
              <a:defRPr sz="1477">
                <a:solidFill>
                  <a:schemeClr val="bg1">
                    <a:lumMod val="95000"/>
                  </a:schemeClr>
                </a:solidFill>
                <a:latin typeface="+mj-lt"/>
                <a:ea typeface="Verdana" pitchFamily="34" charset="0"/>
                <a:cs typeface="Verdana" pitchFamily="34" charset="0"/>
              </a:defRPr>
            </a:lvl2pPr>
            <a:lvl3pPr>
              <a:defRPr sz="1477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477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477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/>
              <a:t>Пункт номер один</a:t>
            </a:r>
          </a:p>
          <a:p>
            <a:pPr lvl="1"/>
            <a:r>
              <a:rPr lang="ru-RU" dirty="0"/>
              <a:t>Подпункт один</a:t>
            </a:r>
          </a:p>
          <a:p>
            <a:pPr lvl="1"/>
            <a:r>
              <a:rPr lang="ru-RU" dirty="0"/>
              <a:t>Подпункт два</a:t>
            </a:r>
          </a:p>
          <a:p>
            <a:pPr lvl="0"/>
            <a:r>
              <a:rPr lang="ru-RU" dirty="0"/>
              <a:t>Пункт номер два</a:t>
            </a:r>
          </a:p>
          <a:p>
            <a:pPr lvl="1"/>
            <a:r>
              <a:rPr lang="ru-RU" dirty="0"/>
              <a:t>Подпункт один</a:t>
            </a:r>
          </a:p>
          <a:p>
            <a:pPr lvl="1"/>
            <a:r>
              <a:rPr lang="ru-RU" dirty="0"/>
              <a:t>Подпункт два</a:t>
            </a:r>
          </a:p>
          <a:p>
            <a:pPr lvl="0"/>
            <a:r>
              <a:rPr lang="ru-RU" dirty="0"/>
              <a:t>Пункт номер два</a:t>
            </a:r>
          </a:p>
          <a:p>
            <a:pPr lvl="1"/>
            <a:r>
              <a:rPr lang="ru-RU" dirty="0"/>
              <a:t>Подпункт один</a:t>
            </a:r>
          </a:p>
          <a:p>
            <a:pPr lvl="1"/>
            <a:r>
              <a:rPr lang="ru-RU" dirty="0"/>
              <a:t>Подпункт два</a:t>
            </a:r>
          </a:p>
          <a:p>
            <a:pPr lvl="0"/>
            <a:r>
              <a:rPr lang="ru-RU" dirty="0"/>
              <a:t>Пункт номер два</a:t>
            </a:r>
          </a:p>
          <a:p>
            <a:pPr lvl="1"/>
            <a:r>
              <a:rPr lang="ru-RU" dirty="0"/>
              <a:t>Подпункт один</a:t>
            </a:r>
          </a:p>
          <a:p>
            <a:pPr lvl="1"/>
            <a:r>
              <a:rPr lang="ru-RU" dirty="0"/>
              <a:t>Подпункт два</a:t>
            </a:r>
          </a:p>
          <a:p>
            <a:pPr lvl="0"/>
            <a:r>
              <a:rPr lang="ru-RU" dirty="0"/>
              <a:t>Пункт номер два</a:t>
            </a:r>
          </a:p>
          <a:p>
            <a:pPr lvl="1"/>
            <a:r>
              <a:rPr lang="ru-RU" dirty="0"/>
              <a:t>Подпункт один</a:t>
            </a:r>
          </a:p>
          <a:p>
            <a:pPr lvl="1"/>
            <a:r>
              <a:rPr lang="ru-RU" dirty="0"/>
              <a:t>Подпункт два</a:t>
            </a:r>
          </a:p>
          <a:p>
            <a:pPr lvl="1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48741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3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40000" y="612000"/>
            <a:ext cx="72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769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1.0</a:t>
            </a:r>
            <a:br>
              <a:rPr lang="ru-RU" dirty="0"/>
            </a:br>
            <a:r>
              <a:rPr lang="ru-RU" dirty="0"/>
              <a:t>Заголовок (</a:t>
            </a:r>
            <a:r>
              <a:rPr lang="ru-RU" dirty="0" err="1"/>
              <a:t>обычн+жирн</a:t>
            </a:r>
            <a:r>
              <a:rPr lang="ru-RU" dirty="0"/>
              <a:t>)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59833" y="269875"/>
            <a:ext cx="28800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662">
              <a:solidFill>
                <a:prstClr val="white"/>
              </a:solidFill>
            </a:endParaRPr>
          </a:p>
        </p:txBody>
      </p:sp>
      <p:pic>
        <p:nvPicPr>
          <p:cNvPr id="6" name="Picture 2" descr="H:\Moscow Exchange (ex-Micex-RTS) brandbook\MSCW_XCHNG_Master_Logo_Folder\PNG\ENGLISH\MSCW_XCHNG_RGB_EN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6033" y="6191261"/>
            <a:ext cx="2220384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176931" y="6209891"/>
            <a:ext cx="578687" cy="365125"/>
          </a:xfrm>
        </p:spPr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94148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 Слайд с буллетированным текстом и 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359840" y="269875"/>
            <a:ext cx="8636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662">
              <a:solidFill>
                <a:prstClr val="white"/>
              </a:solidFill>
            </a:endParaRPr>
          </a:p>
        </p:txBody>
      </p:sp>
      <p:sp>
        <p:nvSpPr>
          <p:cNvPr id="10" name="Вертикальный текст 2"/>
          <p:cNvSpPr>
            <a:spLocks noGrp="1"/>
          </p:cNvSpPr>
          <p:nvPr>
            <p:ph type="body" orient="vert" idx="1" hasCustomPrompt="1"/>
          </p:nvPr>
        </p:nvSpPr>
        <p:spPr>
          <a:xfrm>
            <a:off x="1536000" y="1196752"/>
            <a:ext cx="9888000" cy="4538048"/>
          </a:xfrm>
          <a:prstGeom prst="rect">
            <a:avLst/>
          </a:prstGeom>
        </p:spPr>
        <p:txBody>
          <a:bodyPr vert="horz">
            <a:noAutofit/>
          </a:bodyPr>
          <a:lstStyle>
            <a:lvl1pPr marL="161196" indent="-161196" defTabSz="1824450">
              <a:spcBef>
                <a:spcPts val="1662"/>
              </a:spcBef>
              <a:buFont typeface="Wingdings" pitchFamily="2" charset="2"/>
              <a:buChar char="§"/>
              <a:defRPr sz="1108" baseline="0">
                <a:latin typeface="+mn-lt"/>
                <a:ea typeface="Verdana" pitchFamily="34" charset="0"/>
                <a:cs typeface="Verdana" pitchFamily="34" charset="0"/>
              </a:defRPr>
            </a:lvl1pPr>
            <a:lvl2pPr defTabSz="1824450">
              <a:defRPr sz="1108">
                <a:latin typeface="+mn-lt"/>
                <a:ea typeface="Verdana" pitchFamily="34" charset="0"/>
                <a:cs typeface="Verdana" pitchFamily="34" charset="0"/>
              </a:defRPr>
            </a:lvl2pPr>
            <a:lvl3pPr>
              <a:defRPr sz="1477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477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477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/>
              <a:t>Пункт номер один</a:t>
            </a:r>
          </a:p>
          <a:p>
            <a:pPr lvl="1"/>
            <a:r>
              <a:rPr lang="ru-RU" dirty="0"/>
              <a:t>Подпункт один</a:t>
            </a:r>
          </a:p>
          <a:p>
            <a:pPr lvl="1"/>
            <a:r>
              <a:rPr lang="ru-RU" dirty="0"/>
              <a:t>Подпункт два</a:t>
            </a:r>
          </a:p>
          <a:p>
            <a:pPr lvl="0"/>
            <a:r>
              <a:rPr lang="ru-RU" dirty="0"/>
              <a:t>Пункт номер два</a:t>
            </a:r>
          </a:p>
          <a:p>
            <a:pPr lvl="1"/>
            <a:r>
              <a:rPr lang="ru-RU" dirty="0"/>
              <a:t>Подпункт один</a:t>
            </a:r>
          </a:p>
          <a:p>
            <a:pPr lvl="1"/>
            <a:r>
              <a:rPr lang="ru-RU" dirty="0"/>
              <a:t>Подпункт два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36000" y="288000"/>
            <a:ext cx="9888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031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ЗАГОЛОВОК: </a:t>
            </a:r>
            <a:r>
              <a:rPr lang="en-US" dirty="0"/>
              <a:t>TAHOMA </a:t>
            </a:r>
            <a:r>
              <a:rPr lang="ru-RU" dirty="0"/>
              <a:t>2</a:t>
            </a:r>
            <a:r>
              <a:rPr lang="en-US" dirty="0"/>
              <a:t>2</a:t>
            </a:r>
            <a:r>
              <a:rPr lang="ru-RU" dirty="0"/>
              <a:t> ПТ ОБЫЧНЫЙ, ОКОНЧАНИЕ − ПОЛУЖИРНЫЙ!</a:t>
            </a:r>
          </a:p>
        </p:txBody>
      </p:sp>
      <p:pic>
        <p:nvPicPr>
          <p:cNvPr id="7" name="Picture 2" descr="H:\Moscow Exchange (ex-Micex-RTS) brandbook\MSCW_XCHNG_Master_Logo_Folder\PNG\ENGLISH\MSCW_XCHNG_RGB_EN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967" y="6191261"/>
            <a:ext cx="2220384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176931" y="6209891"/>
            <a:ext cx="578687" cy="365125"/>
          </a:xfrm>
        </p:spPr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557443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 Слайд с текстом и таблиц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359840" y="269875"/>
            <a:ext cx="8636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662">
              <a:solidFill>
                <a:prstClr val="white"/>
              </a:solidFill>
            </a:endParaRP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36000" y="288000"/>
            <a:ext cx="9888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031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ЗАГОЛОВОК: </a:t>
            </a:r>
            <a:r>
              <a:rPr lang="en-US" dirty="0"/>
              <a:t>TAHOMA </a:t>
            </a:r>
            <a:r>
              <a:rPr lang="ru-RU" dirty="0"/>
              <a:t>2</a:t>
            </a:r>
            <a:r>
              <a:rPr lang="en-US" dirty="0"/>
              <a:t>2</a:t>
            </a:r>
            <a:r>
              <a:rPr lang="ru-RU" dirty="0"/>
              <a:t> ПТ ОБЫЧНЫЙ, ОКОНЧАНИЕ − ПОЛУЖИРНЫЙ!</a:t>
            </a:r>
          </a:p>
        </p:txBody>
      </p:sp>
      <p:pic>
        <p:nvPicPr>
          <p:cNvPr id="6" name="Picture 2" descr="H:\Moscow Exchange (ex-Micex-RTS) brandbook\MSCW_XCHNG_Master_Logo_Folder\PNG\ENGLISH\MSCW_XCHNG_RGB_EN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967" y="6191261"/>
            <a:ext cx="2220384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176931" y="6209891"/>
            <a:ext cx="578687" cy="365125"/>
          </a:xfrm>
        </p:spPr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639124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\\atlas-old\Департамент_по_коммуникациям\Отдел_управления_брендом\Фирменный стиль\Шаблон презентаций\купол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90" t="14957" r="19446" b="9402"/>
          <a:stretch/>
        </p:blipFill>
        <p:spPr bwMode="auto">
          <a:xfrm>
            <a:off x="335360" y="252000"/>
            <a:ext cx="576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36000" y="4291200"/>
            <a:ext cx="5424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January 00, 2000, City</a:t>
            </a:r>
            <a:br>
              <a:rPr lang="en-US" dirty="0"/>
            </a:br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Speaker’s title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336000" y="5083200"/>
            <a:ext cx="5568619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TITLE GOES HERE </a:t>
            </a:r>
            <a:br>
              <a:rPr lang="en-US" dirty="0"/>
            </a:br>
            <a:r>
              <a:rPr lang="en-US" dirty="0"/>
              <a:t>IN TAHOMA</a:t>
            </a:r>
            <a:br>
              <a:rPr lang="en-US" dirty="0"/>
            </a:br>
            <a:r>
              <a:rPr lang="en-US" dirty="0"/>
              <a:t>(LIGHT+BOLD)</a:t>
            </a:r>
          </a:p>
        </p:txBody>
      </p:sp>
      <p:pic>
        <p:nvPicPr>
          <p:cNvPr id="1027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1957" y="245078"/>
            <a:ext cx="3264363" cy="582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456920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14" name="Слайд think-cell" r:id="rId4" imgW="324" imgH="324" progId="TCLayout.ActiveDocument.1">
                  <p:embed/>
                </p:oleObj>
              </mc:Choice>
              <mc:Fallback>
                <p:oleObj name="Слайд think-cell" r:id="rId4" imgW="324" imgH="324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3" descr="\\office.micex.com\Public\Files\Департамент_по_коммуникациям\Отдел_управления_брендом\Фирменный_стиль\Шаблон_презентаций\Шаблоны с выбором фото\высотка1.jp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43" r="185"/>
          <a:stretch/>
        </p:blipFill>
        <p:spPr bwMode="auto">
          <a:xfrm>
            <a:off x="335360" y="252000"/>
            <a:ext cx="576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36000" y="4291200"/>
            <a:ext cx="5424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January 00, 2000, City</a:t>
            </a:r>
            <a:br>
              <a:rPr lang="en-US" dirty="0"/>
            </a:br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Speaker’s title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336000" y="5083200"/>
            <a:ext cx="5568619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TITLE GOES HERE </a:t>
            </a:r>
            <a:br>
              <a:rPr lang="en-US" dirty="0"/>
            </a:br>
            <a:r>
              <a:rPr lang="en-US" dirty="0"/>
              <a:t>IN TAHOMA</a:t>
            </a:r>
            <a:br>
              <a:rPr lang="en-US" dirty="0"/>
            </a:br>
            <a:r>
              <a:rPr lang="en-US" dirty="0"/>
              <a:t>(LIGHT+BOLD)</a:t>
            </a:r>
          </a:p>
        </p:txBody>
      </p:sp>
      <p:pic>
        <p:nvPicPr>
          <p:cNvPr id="9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3676" y="254312"/>
            <a:ext cx="2448272" cy="582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464878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 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2"/>
          <p:cNvSpPr txBox="1">
            <a:spLocks/>
          </p:cNvSpPr>
          <p:nvPr/>
        </p:nvSpPr>
        <p:spPr>
          <a:xfrm>
            <a:off x="480484" y="539751"/>
            <a:ext cx="9599083" cy="1439863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Font typeface="Arial" charset="0"/>
              <a:buNone/>
              <a:defRPr/>
            </a:pPr>
            <a:r>
              <a:rPr lang="en-US" sz="4800" dirty="0">
                <a:solidFill>
                  <a:srgbClr val="000000"/>
                </a:solidFill>
                <a:latin typeface="Verdana" pitchFamily="34" charset="0"/>
              </a:rPr>
              <a:t>THANK</a:t>
            </a:r>
            <a:endParaRPr lang="ru-RU" sz="4800" dirty="0">
              <a:solidFill>
                <a:srgbClr val="000000"/>
              </a:solidFill>
              <a:latin typeface="Verdana" pitchFamily="34" charset="0"/>
            </a:endParaRPr>
          </a:p>
          <a:p>
            <a:pPr eaLnBrk="1" hangingPunct="1">
              <a:lnSpc>
                <a:spcPct val="90000"/>
              </a:lnSpc>
              <a:buFont typeface="Arial" charset="0"/>
              <a:buNone/>
              <a:defRPr/>
            </a:pPr>
            <a:r>
              <a:rPr lang="en-US" sz="4800" b="1" dirty="0">
                <a:solidFill>
                  <a:srgbClr val="000000"/>
                </a:solidFill>
                <a:latin typeface="Verdana" pitchFamily="34" charset="0"/>
              </a:rPr>
              <a:t>YOU</a:t>
            </a:r>
            <a:endParaRPr lang="ru-RU" sz="4800" b="1" dirty="0">
              <a:solidFill>
                <a:srgbClr val="000000"/>
              </a:solidFill>
              <a:latin typeface="Verdana" pitchFamily="34" charset="0"/>
            </a:endParaRPr>
          </a:p>
        </p:txBody>
      </p:sp>
      <p:pic>
        <p:nvPicPr>
          <p:cNvPr id="3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9452" y="5688013"/>
            <a:ext cx="3026833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7663789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38" name="Слайд think-cell" r:id="rId4" imgW="324" imgH="324" progId="TCLayout.ActiveDocument.1">
                  <p:embed/>
                </p:oleObj>
              </mc:Choice>
              <mc:Fallback>
                <p:oleObj name="Слайд think-cell" r:id="rId4" imgW="324" imgH="324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3" descr="\\office.micex.com\Public\Files\Департамент_по_коммуникациям\Отдел_управления_брендом\Фирменный_стиль\Шаблон_презентаций\Шаблоны с выбором фото\высотка1.jp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43" r="185"/>
          <a:stretch/>
        </p:blipFill>
        <p:spPr bwMode="auto">
          <a:xfrm>
            <a:off x="335360" y="252000"/>
            <a:ext cx="576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36000" y="4291200"/>
            <a:ext cx="5424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January 00, 2000, City</a:t>
            </a:r>
            <a:br>
              <a:rPr lang="en-US" dirty="0"/>
            </a:br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Speaker’s title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336000" y="5083200"/>
            <a:ext cx="5568619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TITLE GOES HERE </a:t>
            </a:r>
            <a:br>
              <a:rPr lang="en-US" dirty="0"/>
            </a:br>
            <a:r>
              <a:rPr lang="en-US" dirty="0"/>
              <a:t>IN TAHOMA</a:t>
            </a:r>
            <a:br>
              <a:rPr lang="en-US" dirty="0"/>
            </a:br>
            <a:r>
              <a:rPr lang="en-US" dirty="0"/>
              <a:t>(LIGHT+BOLD)</a:t>
            </a:r>
          </a:p>
        </p:txBody>
      </p:sp>
      <p:pic>
        <p:nvPicPr>
          <p:cNvPr id="8" name="Picture 209" descr="ÐÐ°ÑÑÐ¸Ð½ÐºÐ¸ Ð¿Ð¾ Ð·Ð°Ð¿ÑÐ¾ÑÑ Ð¼Ð¾ÑÐºÐ¾Ð²ÑÐºÐ°Ñ Ð±Ð¸ÑÐ¶Ð° Ð»Ð¾Ð³Ð¾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1526" y="252000"/>
            <a:ext cx="2254250" cy="537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527383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40000" y="612000"/>
            <a:ext cx="72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0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1.0</a:t>
            </a:r>
            <a:br>
              <a:rPr lang="en-US" dirty="0"/>
            </a:br>
            <a:r>
              <a:rPr lang="en-US" dirty="0" err="1"/>
              <a:t>Devider</a:t>
            </a:r>
            <a:r>
              <a:rPr lang="en-US" dirty="0"/>
              <a:t> title (</a:t>
            </a:r>
            <a:r>
              <a:rPr lang="en-US" dirty="0" err="1"/>
              <a:t>light+bold</a:t>
            </a:r>
            <a:r>
              <a:rPr lang="en-US" dirty="0"/>
              <a:t>)</a:t>
            </a: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359833" y="269875"/>
            <a:ext cx="28800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pic>
        <p:nvPicPr>
          <p:cNvPr id="6" name="Picture 2" descr="H:\Moscow Exchange (ex-Micex-RTS) brandbook\MSCW_XCHNG_Master_Logo_Folder\PNG\ENGLISH\MSCW_XCHNG_RGB_ENG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76033" y="6191251"/>
            <a:ext cx="222038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242476" y="6265888"/>
            <a:ext cx="576064" cy="365125"/>
          </a:xfrm>
        </p:spPr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371024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 Слайд с буллетированным текстом и 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359833" y="269875"/>
            <a:ext cx="8636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" name="Вертикальный текст 2"/>
          <p:cNvSpPr>
            <a:spLocks noGrp="1"/>
          </p:cNvSpPr>
          <p:nvPr>
            <p:ph type="body" orient="vert" idx="1" hasCustomPrompt="1"/>
          </p:nvPr>
        </p:nvSpPr>
        <p:spPr>
          <a:xfrm>
            <a:off x="1536000" y="1196752"/>
            <a:ext cx="9888000" cy="4538048"/>
          </a:xfrm>
          <a:prstGeom prst="rect">
            <a:avLst/>
          </a:prstGeom>
        </p:spPr>
        <p:txBody>
          <a:bodyPr vert="horz">
            <a:noAutofit/>
          </a:bodyPr>
          <a:lstStyle>
            <a:lvl1pPr marL="174625" indent="-174625" defTabSz="1976438">
              <a:spcBef>
                <a:spcPts val="1800"/>
              </a:spcBef>
              <a:buFont typeface="Wingdings" pitchFamily="2" charset="2"/>
              <a:buChar char="§"/>
              <a:defRPr sz="1200" baseline="0">
                <a:latin typeface="+mn-lt"/>
                <a:ea typeface="Verdana" pitchFamily="34" charset="0"/>
                <a:cs typeface="Verdana" pitchFamily="34" charset="0"/>
              </a:defRPr>
            </a:lvl1pPr>
            <a:lvl2pPr defTabSz="1976438">
              <a:defRPr sz="1200">
                <a:latin typeface="+mn-lt"/>
                <a:ea typeface="Verdana" pitchFamily="34" charset="0"/>
                <a:cs typeface="Verdana" pitchFamily="34" charset="0"/>
              </a:defRPr>
            </a:lvl2pPr>
            <a:lvl3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en-US" dirty="0"/>
              <a:t>Bullet point one</a:t>
            </a:r>
          </a:p>
          <a:p>
            <a:pPr lvl="1"/>
            <a:r>
              <a:rPr lang="en-US" dirty="0"/>
              <a:t>Sub point one</a:t>
            </a:r>
          </a:p>
          <a:p>
            <a:pPr lvl="1"/>
            <a:r>
              <a:rPr lang="en-US" dirty="0"/>
              <a:t>Sub point two</a:t>
            </a:r>
          </a:p>
          <a:p>
            <a:pPr lvl="0"/>
            <a:r>
              <a:rPr lang="en-US" dirty="0"/>
              <a:t>Bullet point two</a:t>
            </a:r>
          </a:p>
          <a:p>
            <a:pPr lvl="1"/>
            <a:r>
              <a:rPr lang="en-US" dirty="0"/>
              <a:t>Sub point one</a:t>
            </a:r>
          </a:p>
          <a:p>
            <a:pPr lvl="1"/>
            <a:r>
              <a:rPr lang="en-US" dirty="0"/>
              <a:t>Sub point two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36000" y="288000"/>
            <a:ext cx="9888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2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SLIDE TITLE GOES HERE: TAHOMA 22 PT LIGHT + BOLD FOR THE TAIL!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7" name="Picture 2" descr="H:\Moscow Exchange (ex-Micex-RTS) brandbook\MSCW_XCHNG_Master_Logo_Folder\PNG\ENGLISH\MSCW_XCHNG_RGB_ENG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60967" y="6191251"/>
            <a:ext cx="222038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5770286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 Слайд с текстом и таблиц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6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359833" y="269875"/>
            <a:ext cx="8636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36000" y="288000"/>
            <a:ext cx="10656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0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SLIDE TITLE GOES HERE: TAHOMA 22 PT LIGHT + BOLD FOR THE TAIL!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242476" y="6265888"/>
            <a:ext cx="576064" cy="365125"/>
          </a:xfrm>
        </p:spPr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7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967" y="6084125"/>
            <a:ext cx="2118700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803473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 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2"/>
          <p:cNvSpPr txBox="1">
            <a:spLocks/>
          </p:cNvSpPr>
          <p:nvPr/>
        </p:nvSpPr>
        <p:spPr>
          <a:xfrm>
            <a:off x="480484" y="539751"/>
            <a:ext cx="9599083" cy="1439863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Font typeface="Arial" charset="0"/>
              <a:buNone/>
              <a:defRPr/>
            </a:pPr>
            <a:r>
              <a:rPr lang="en-US" sz="4800" dirty="0">
                <a:solidFill>
                  <a:srgbClr val="000000"/>
                </a:solidFill>
                <a:latin typeface="Verdana" pitchFamily="34" charset="0"/>
              </a:rPr>
              <a:t>THANK</a:t>
            </a:r>
            <a:endParaRPr lang="ru-RU" sz="4800" dirty="0">
              <a:solidFill>
                <a:srgbClr val="000000"/>
              </a:solidFill>
              <a:latin typeface="Verdana" pitchFamily="34" charset="0"/>
            </a:endParaRPr>
          </a:p>
          <a:p>
            <a:pPr eaLnBrk="1" hangingPunct="1">
              <a:lnSpc>
                <a:spcPct val="90000"/>
              </a:lnSpc>
              <a:buFont typeface="Arial" charset="0"/>
              <a:buNone/>
              <a:defRPr/>
            </a:pPr>
            <a:r>
              <a:rPr lang="en-US" sz="4800" b="1" dirty="0">
                <a:solidFill>
                  <a:srgbClr val="000000"/>
                </a:solidFill>
                <a:latin typeface="Verdana" pitchFamily="34" charset="0"/>
              </a:rPr>
              <a:t>YOU</a:t>
            </a:r>
            <a:endParaRPr lang="ru-RU" sz="4800" b="1" dirty="0">
              <a:solidFill>
                <a:srgbClr val="000000"/>
              </a:solidFill>
              <a:latin typeface="Verdana" pitchFamily="34" charset="0"/>
            </a:endParaRPr>
          </a:p>
        </p:txBody>
      </p:sp>
      <p:pic>
        <p:nvPicPr>
          <p:cNvPr id="3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9452" y="5688013"/>
            <a:ext cx="3026833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2870387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 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36000" y="269876"/>
            <a:ext cx="9888000" cy="638845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18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ЗАГОЛОВОК: </a:t>
            </a:r>
            <a:r>
              <a:rPr lang="en-US" dirty="0"/>
              <a:t>TAHOMA 18</a:t>
            </a:r>
            <a:r>
              <a:rPr lang="ru-RU" dirty="0"/>
              <a:t> ПТ ОБЫЧНЫЙ, ОКОНЧАНИЕ − ПОЛУЖИРНЫЙ!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84000" y="6192000"/>
            <a:ext cx="48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59833" y="269875"/>
            <a:ext cx="8636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60967" y="6191251"/>
            <a:ext cx="221826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0588309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4_ 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223436" y="269876"/>
            <a:ext cx="10729217" cy="62075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1800" b="1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SLIDE TITLE GOES HERE: TAHOMA 26 PT LIGHT + BOLD FOR THE TAIL!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84000" y="6192000"/>
            <a:ext cx="48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E4E01335-259E-40F9-B4E1-7E4FDCDF6836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59835" y="269878"/>
            <a:ext cx="863600" cy="631825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163" tIns="51581" rIns="103163" bIns="51581" anchor="ctr"/>
          <a:lstStyle/>
          <a:p>
            <a:pPr algn="ctr">
              <a:defRPr/>
            </a:pPr>
            <a:endParaRPr lang="ru-RU" sz="1800" dirty="0">
              <a:solidFill>
                <a:prstClr val="white"/>
              </a:solidFill>
            </a:endParaRPr>
          </a:p>
        </p:txBody>
      </p:sp>
      <p:pic>
        <p:nvPicPr>
          <p:cNvPr id="10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60967" y="6191254"/>
            <a:ext cx="222038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5807968" y="6192000"/>
            <a:ext cx="5280032" cy="360000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55507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150" t="12640" r="24692" b="13358"/>
          <a:stretch/>
        </p:blipFill>
        <p:spPr>
          <a:xfrm>
            <a:off x="431371" y="252000"/>
            <a:ext cx="5664629" cy="627334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36000" y="4291200"/>
            <a:ext cx="5424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00 января 2000, Город</a:t>
            </a:r>
            <a:br>
              <a:rPr lang="ru-RU" dirty="0"/>
            </a:b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 докладчика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336000" y="5083200"/>
            <a:ext cx="5568619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ШРИФТОМ </a:t>
            </a:r>
            <a:r>
              <a:rPr lang="en-US" dirty="0"/>
              <a:t>TAHOMA </a:t>
            </a:r>
            <a:br>
              <a:rPr lang="en-US" dirty="0"/>
            </a:br>
            <a:r>
              <a:rPr lang="en-US" dirty="0"/>
              <a:t>(</a:t>
            </a:r>
            <a:r>
              <a:rPr lang="ru-RU" dirty="0"/>
              <a:t>ОБЫЧН+ЖИРН)</a:t>
            </a:r>
          </a:p>
        </p:txBody>
      </p:sp>
      <p:pic>
        <p:nvPicPr>
          <p:cNvPr id="1026" name="Picture 2" descr="\\atlas-old\Департамент_по_коммуникациям\Отдел_управления_брендом\Фирменный стиль\Шаблон презентаций\ЛОГО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1957" y="252000"/>
            <a:ext cx="3264363" cy="582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046382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5519936" y="6520260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882584C-6866-48D0-A87A-36F6604A4B48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3391668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\\atlas-old\Департамент_по_коммуникациям\Отдел_управления_брендом\Фирменный стиль\Шаблон презентаций\купол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90" t="14957" r="19446" b="9402"/>
          <a:stretch/>
        </p:blipFill>
        <p:spPr bwMode="auto">
          <a:xfrm>
            <a:off x="335360" y="252000"/>
            <a:ext cx="576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36000" y="4291200"/>
            <a:ext cx="5424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015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00 января 2000, Город</a:t>
            </a:r>
            <a:br>
              <a:rPr lang="ru-RU" dirty="0"/>
            </a:b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 докладчика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336003" y="5083200"/>
            <a:ext cx="5568619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ШРИФТОМ </a:t>
            </a:r>
            <a:r>
              <a:rPr lang="en-US" dirty="0"/>
              <a:t>TAHOMA </a:t>
            </a:r>
            <a:br>
              <a:rPr lang="en-US" dirty="0"/>
            </a:br>
            <a:r>
              <a:rPr lang="en-US" dirty="0"/>
              <a:t>(</a:t>
            </a:r>
            <a:r>
              <a:rPr lang="ru-RU" dirty="0"/>
              <a:t>ОБЫЧН+ЖИРН)</a:t>
            </a:r>
          </a:p>
        </p:txBody>
      </p:sp>
      <p:pic>
        <p:nvPicPr>
          <p:cNvPr id="7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2891" y="254011"/>
            <a:ext cx="3263900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88390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 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36000" y="269876"/>
            <a:ext cx="9888000" cy="638845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18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ЗАГОЛОВОК: </a:t>
            </a:r>
            <a:r>
              <a:rPr lang="en-US" dirty="0"/>
              <a:t>TAHOMA 18</a:t>
            </a:r>
            <a:r>
              <a:rPr lang="ru-RU" dirty="0"/>
              <a:t> ПТ ОБЫЧНЫЙ, ОКОНЧАНИЕ − ПОЛУЖИРНЫЙ!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84000" y="6192000"/>
            <a:ext cx="48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59833" y="269875"/>
            <a:ext cx="8636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60967" y="6191251"/>
            <a:ext cx="221826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6447308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\\office.micex.com\Public\Files\Департамент_по_коммуникациям\Отдел_управления_брендом\Фирменный_стиль\Шаблон_презентаций\Шаблоны с выбором фото\высотка1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43" r="185"/>
          <a:stretch/>
        </p:blipFill>
        <p:spPr bwMode="auto">
          <a:xfrm>
            <a:off x="335360" y="252000"/>
            <a:ext cx="576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36000" y="4291200"/>
            <a:ext cx="5424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015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00 января 2000, Город</a:t>
            </a:r>
            <a:br>
              <a:rPr lang="ru-RU" dirty="0"/>
            </a:b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 докладчика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336003" y="5083200"/>
            <a:ext cx="5568619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ШРИФТОМ </a:t>
            </a:r>
            <a:r>
              <a:rPr lang="en-US" dirty="0"/>
              <a:t>TAHOMA </a:t>
            </a:r>
            <a:br>
              <a:rPr lang="en-US" dirty="0"/>
            </a:br>
            <a:r>
              <a:rPr lang="en-US" dirty="0"/>
              <a:t>(</a:t>
            </a:r>
            <a:r>
              <a:rPr lang="ru-RU" dirty="0"/>
              <a:t>ОБЫЧН+ЖИРН)</a:t>
            </a:r>
          </a:p>
        </p:txBody>
      </p:sp>
      <p:pic>
        <p:nvPicPr>
          <p:cNvPr id="6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2891" y="254011"/>
            <a:ext cx="3263900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311808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\\office.micex.com\Public\Files\Департамент_по_коммуникациям\Отдел_управления_брендом\Фирменный_стиль\Шаблон_презентаций\Шаблоны с выбором фото\ГУМ1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" r="11929"/>
          <a:stretch/>
        </p:blipFill>
        <p:spPr bwMode="auto">
          <a:xfrm>
            <a:off x="335360" y="252000"/>
            <a:ext cx="576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36000" y="4291200"/>
            <a:ext cx="5424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015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00 января 2000, Город</a:t>
            </a:r>
            <a:br>
              <a:rPr lang="ru-RU" dirty="0"/>
            </a:b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 докладчика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336003" y="5083200"/>
            <a:ext cx="5568619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ШРИФТОМ </a:t>
            </a:r>
            <a:r>
              <a:rPr lang="en-US" dirty="0"/>
              <a:t>TAHOMA </a:t>
            </a:r>
            <a:br>
              <a:rPr lang="en-US" dirty="0"/>
            </a:br>
            <a:r>
              <a:rPr lang="en-US" dirty="0"/>
              <a:t>(</a:t>
            </a:r>
            <a:r>
              <a:rPr lang="ru-RU" dirty="0"/>
              <a:t>ОБЫЧН+ЖИРН)</a:t>
            </a:r>
          </a:p>
        </p:txBody>
      </p:sp>
      <p:pic>
        <p:nvPicPr>
          <p:cNvPr id="6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2891" y="254011"/>
            <a:ext cx="3263900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2439997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5" y="159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Объект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5" y="159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36000" y="4291200"/>
            <a:ext cx="5424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015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00 января 2000, Город</a:t>
            </a:r>
            <a:br>
              <a:rPr lang="ru-RU" dirty="0"/>
            </a:b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 докладчика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336003" y="5083200"/>
            <a:ext cx="5568619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ШРИФТОМ </a:t>
            </a:r>
            <a:r>
              <a:rPr lang="en-US" dirty="0"/>
              <a:t>TAHOMA </a:t>
            </a:r>
            <a:br>
              <a:rPr lang="en-US" dirty="0"/>
            </a:br>
            <a:r>
              <a:rPr lang="en-US" dirty="0"/>
              <a:t>(</a:t>
            </a:r>
            <a:r>
              <a:rPr lang="ru-RU" dirty="0"/>
              <a:t>ОБЫЧН+ЖИРН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35360" y="270000"/>
            <a:ext cx="5760640" cy="6327352"/>
          </a:xfrm>
          <a:prstGeom prst="rect">
            <a:avLst/>
          </a:prstGeom>
          <a:solidFill>
            <a:srgbClr val="6163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62">
              <a:solidFill>
                <a:prstClr val="white"/>
              </a:solidFill>
            </a:endParaRPr>
          </a:p>
        </p:txBody>
      </p:sp>
      <p:pic>
        <p:nvPicPr>
          <p:cNvPr id="6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2891" y="270011"/>
            <a:ext cx="3263900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4734036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335360" y="269879"/>
            <a:ext cx="5760640" cy="6327477"/>
          </a:xfrm>
          <a:prstGeom prst="rect">
            <a:avLst/>
          </a:prstGeom>
          <a:solidFill>
            <a:srgbClr val="5162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62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36000" y="4291200"/>
            <a:ext cx="5424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015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00 января 2000, Город</a:t>
            </a:r>
            <a:br>
              <a:rPr lang="ru-RU" dirty="0"/>
            </a:b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 докладчика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336003" y="5083200"/>
            <a:ext cx="5568619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ШРИФТОМ </a:t>
            </a:r>
            <a:r>
              <a:rPr lang="en-US" dirty="0"/>
              <a:t>TAHOMA </a:t>
            </a:r>
            <a:br>
              <a:rPr lang="en-US" dirty="0"/>
            </a:br>
            <a:r>
              <a:rPr lang="en-US" dirty="0"/>
              <a:t>(</a:t>
            </a:r>
            <a:r>
              <a:rPr lang="ru-RU" dirty="0"/>
              <a:t>ОБЫЧН+ЖИРН)</a:t>
            </a:r>
          </a:p>
        </p:txBody>
      </p:sp>
      <p:pic>
        <p:nvPicPr>
          <p:cNvPr id="7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2891" y="270011"/>
            <a:ext cx="3263900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3238887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2_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359840" y="269886"/>
            <a:ext cx="11472333" cy="6183461"/>
          </a:xfrm>
          <a:prstGeom prst="rect">
            <a:avLst/>
          </a:prstGeom>
          <a:solidFill>
            <a:srgbClr val="51626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662">
              <a:solidFill>
                <a:prstClr val="white"/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/>
        </p:nvSpPr>
        <p:spPr>
          <a:xfrm>
            <a:off x="1536707" y="828675"/>
            <a:ext cx="5418667" cy="719138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Font typeface="Arial" charset="0"/>
              <a:buNone/>
              <a:defRPr/>
            </a:pPr>
            <a:r>
              <a:rPr lang="ru-RU" sz="2400" dirty="0">
                <a:solidFill>
                  <a:prstClr val="white"/>
                </a:solidFill>
                <a:latin typeface="Tahoma"/>
                <a:ea typeface="ＭＳ Ｐゴシック"/>
              </a:rPr>
              <a:t>СОДЕРЖАНИЕ</a:t>
            </a:r>
            <a:endParaRPr lang="ru-RU" sz="2400" b="1" dirty="0">
              <a:solidFill>
                <a:prstClr val="white"/>
              </a:solidFill>
              <a:latin typeface="Tahoma"/>
              <a:ea typeface="ＭＳ Ｐゴシック"/>
            </a:endParaRPr>
          </a:p>
        </p:txBody>
      </p:sp>
      <p:sp>
        <p:nvSpPr>
          <p:cNvPr id="11" name="Вертикальный текст 2"/>
          <p:cNvSpPr>
            <a:spLocks noGrp="1"/>
          </p:cNvSpPr>
          <p:nvPr>
            <p:ph type="body" orient="vert" idx="1" hasCustomPrompt="1"/>
          </p:nvPr>
        </p:nvSpPr>
        <p:spPr>
          <a:xfrm>
            <a:off x="1536000" y="2134800"/>
            <a:ext cx="9024000" cy="3382432"/>
          </a:xfrm>
          <a:prstGeom prst="rect">
            <a:avLst/>
          </a:prstGeom>
        </p:spPr>
        <p:txBody>
          <a:bodyPr vert="horz" numCol="2">
            <a:noAutofit/>
          </a:bodyPr>
          <a:lstStyle>
            <a:lvl1pPr marL="161196" indent="-161196" defTabSz="1824450">
              <a:spcBef>
                <a:spcPts val="1662"/>
              </a:spcBef>
              <a:buFont typeface="Wingdings" pitchFamily="2" charset="2"/>
              <a:buChar char="§"/>
              <a:defRPr sz="1477" baseline="0">
                <a:solidFill>
                  <a:schemeClr val="bg1">
                    <a:lumMod val="95000"/>
                  </a:schemeClr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defTabSz="1824450">
              <a:defRPr sz="1477">
                <a:solidFill>
                  <a:schemeClr val="bg1">
                    <a:lumMod val="95000"/>
                  </a:schemeClr>
                </a:solidFill>
                <a:latin typeface="+mj-lt"/>
                <a:ea typeface="Verdana" pitchFamily="34" charset="0"/>
                <a:cs typeface="Verdana" pitchFamily="34" charset="0"/>
              </a:defRPr>
            </a:lvl2pPr>
            <a:lvl3pPr>
              <a:defRPr sz="1477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477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477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/>
              <a:t>Пункт номер один</a:t>
            </a:r>
          </a:p>
          <a:p>
            <a:pPr lvl="1"/>
            <a:r>
              <a:rPr lang="ru-RU" dirty="0"/>
              <a:t>Подпункт один</a:t>
            </a:r>
          </a:p>
          <a:p>
            <a:pPr lvl="1"/>
            <a:r>
              <a:rPr lang="ru-RU" dirty="0"/>
              <a:t>Подпункт два</a:t>
            </a:r>
          </a:p>
          <a:p>
            <a:pPr lvl="0"/>
            <a:r>
              <a:rPr lang="ru-RU" dirty="0"/>
              <a:t>Пункт номер два</a:t>
            </a:r>
          </a:p>
          <a:p>
            <a:pPr lvl="1"/>
            <a:r>
              <a:rPr lang="ru-RU" dirty="0"/>
              <a:t>Подпункт один</a:t>
            </a:r>
          </a:p>
          <a:p>
            <a:pPr lvl="1"/>
            <a:r>
              <a:rPr lang="ru-RU" dirty="0"/>
              <a:t>Подпункт два</a:t>
            </a:r>
          </a:p>
          <a:p>
            <a:pPr lvl="0"/>
            <a:r>
              <a:rPr lang="ru-RU" dirty="0"/>
              <a:t>Пункт номер два</a:t>
            </a:r>
          </a:p>
          <a:p>
            <a:pPr lvl="1"/>
            <a:r>
              <a:rPr lang="ru-RU" dirty="0"/>
              <a:t>Подпункт один</a:t>
            </a:r>
          </a:p>
          <a:p>
            <a:pPr lvl="1"/>
            <a:r>
              <a:rPr lang="ru-RU" dirty="0"/>
              <a:t>Подпункт два</a:t>
            </a:r>
          </a:p>
          <a:p>
            <a:pPr lvl="0"/>
            <a:r>
              <a:rPr lang="ru-RU" dirty="0"/>
              <a:t>Пункт номер два</a:t>
            </a:r>
          </a:p>
          <a:p>
            <a:pPr lvl="1"/>
            <a:r>
              <a:rPr lang="ru-RU" dirty="0"/>
              <a:t>Подпункт один</a:t>
            </a:r>
          </a:p>
          <a:p>
            <a:pPr lvl="1"/>
            <a:r>
              <a:rPr lang="ru-RU" dirty="0"/>
              <a:t>Подпункт два</a:t>
            </a:r>
          </a:p>
          <a:p>
            <a:pPr lvl="0"/>
            <a:r>
              <a:rPr lang="ru-RU" dirty="0"/>
              <a:t>Пункт номер два</a:t>
            </a:r>
          </a:p>
          <a:p>
            <a:pPr lvl="1"/>
            <a:r>
              <a:rPr lang="ru-RU" dirty="0"/>
              <a:t>Подпункт один</a:t>
            </a:r>
          </a:p>
          <a:p>
            <a:pPr lvl="1"/>
            <a:r>
              <a:rPr lang="ru-RU" dirty="0"/>
              <a:t>Подпункт два</a:t>
            </a:r>
          </a:p>
          <a:p>
            <a:pPr lvl="1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1051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3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40000" y="612000"/>
            <a:ext cx="720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769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1.0</a:t>
            </a:r>
            <a:br>
              <a:rPr lang="ru-RU" dirty="0"/>
            </a:br>
            <a:r>
              <a:rPr lang="ru-RU" dirty="0"/>
              <a:t>Заголовок (</a:t>
            </a:r>
            <a:r>
              <a:rPr lang="ru-RU" dirty="0" err="1"/>
              <a:t>обычн+жирн</a:t>
            </a:r>
            <a:r>
              <a:rPr lang="ru-RU" dirty="0"/>
              <a:t>)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59833" y="269875"/>
            <a:ext cx="28800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662">
              <a:solidFill>
                <a:prstClr val="white"/>
              </a:solidFill>
            </a:endParaRPr>
          </a:p>
        </p:txBody>
      </p:sp>
      <p:pic>
        <p:nvPicPr>
          <p:cNvPr id="6" name="Picture 2" descr="H:\Moscow Exchange (ex-Micex-RTS) brandbook\MSCW_XCHNG_Master_Logo_Folder\PNG\ENGLISH\MSCW_XCHNG_RGB_EN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6033" y="6191261"/>
            <a:ext cx="2220384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176931" y="6209891"/>
            <a:ext cx="578687" cy="365125"/>
          </a:xfrm>
        </p:spPr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139394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 Слайд с буллетированным текстом и 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359840" y="269875"/>
            <a:ext cx="8636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662">
              <a:solidFill>
                <a:prstClr val="white"/>
              </a:solidFill>
            </a:endParaRPr>
          </a:p>
        </p:txBody>
      </p:sp>
      <p:sp>
        <p:nvSpPr>
          <p:cNvPr id="10" name="Вертикальный текст 2"/>
          <p:cNvSpPr>
            <a:spLocks noGrp="1"/>
          </p:cNvSpPr>
          <p:nvPr>
            <p:ph type="body" orient="vert" idx="1" hasCustomPrompt="1"/>
          </p:nvPr>
        </p:nvSpPr>
        <p:spPr>
          <a:xfrm>
            <a:off x="1536000" y="1196752"/>
            <a:ext cx="9888000" cy="4538048"/>
          </a:xfrm>
          <a:prstGeom prst="rect">
            <a:avLst/>
          </a:prstGeom>
        </p:spPr>
        <p:txBody>
          <a:bodyPr vert="horz">
            <a:noAutofit/>
          </a:bodyPr>
          <a:lstStyle>
            <a:lvl1pPr marL="161196" indent="-161196" defTabSz="1824450">
              <a:spcBef>
                <a:spcPts val="1662"/>
              </a:spcBef>
              <a:buFont typeface="Wingdings" pitchFamily="2" charset="2"/>
              <a:buChar char="§"/>
              <a:defRPr sz="1108" baseline="0">
                <a:latin typeface="+mn-lt"/>
                <a:ea typeface="Verdana" pitchFamily="34" charset="0"/>
                <a:cs typeface="Verdana" pitchFamily="34" charset="0"/>
              </a:defRPr>
            </a:lvl1pPr>
            <a:lvl2pPr defTabSz="1824450">
              <a:defRPr sz="1108">
                <a:latin typeface="+mn-lt"/>
                <a:ea typeface="Verdana" pitchFamily="34" charset="0"/>
                <a:cs typeface="Verdana" pitchFamily="34" charset="0"/>
              </a:defRPr>
            </a:lvl2pPr>
            <a:lvl3pPr>
              <a:defRPr sz="1477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477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477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/>
              <a:t>Пункт номер один</a:t>
            </a:r>
          </a:p>
          <a:p>
            <a:pPr lvl="1"/>
            <a:r>
              <a:rPr lang="ru-RU" dirty="0"/>
              <a:t>Подпункт один</a:t>
            </a:r>
          </a:p>
          <a:p>
            <a:pPr lvl="1"/>
            <a:r>
              <a:rPr lang="ru-RU" dirty="0"/>
              <a:t>Подпункт два</a:t>
            </a:r>
          </a:p>
          <a:p>
            <a:pPr lvl="0"/>
            <a:r>
              <a:rPr lang="ru-RU" dirty="0"/>
              <a:t>Пункт номер два</a:t>
            </a:r>
          </a:p>
          <a:p>
            <a:pPr lvl="1"/>
            <a:r>
              <a:rPr lang="ru-RU" dirty="0"/>
              <a:t>Подпункт один</a:t>
            </a:r>
          </a:p>
          <a:p>
            <a:pPr lvl="1"/>
            <a:r>
              <a:rPr lang="ru-RU" dirty="0"/>
              <a:t>Подпункт два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36000" y="288000"/>
            <a:ext cx="9888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031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ЗАГОЛОВОК: </a:t>
            </a:r>
            <a:r>
              <a:rPr lang="en-US" dirty="0"/>
              <a:t>TAHOMA </a:t>
            </a:r>
            <a:r>
              <a:rPr lang="ru-RU" dirty="0"/>
              <a:t>2</a:t>
            </a:r>
            <a:r>
              <a:rPr lang="en-US" dirty="0"/>
              <a:t>2</a:t>
            </a:r>
            <a:r>
              <a:rPr lang="ru-RU" dirty="0"/>
              <a:t> ПТ ОБЫЧНЫЙ, ОКОНЧАНИЕ − ПОЛУЖИРНЫЙ!</a:t>
            </a:r>
          </a:p>
        </p:txBody>
      </p:sp>
      <p:pic>
        <p:nvPicPr>
          <p:cNvPr id="7" name="Picture 2" descr="H:\Moscow Exchange (ex-Micex-RTS) brandbook\MSCW_XCHNG_Master_Logo_Folder\PNG\ENGLISH\MSCW_XCHNG_RGB_EN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967" y="6191261"/>
            <a:ext cx="2220384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176931" y="6209891"/>
            <a:ext cx="578687" cy="365125"/>
          </a:xfrm>
        </p:spPr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49362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 Слайд с текстом и таблиц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359840" y="269875"/>
            <a:ext cx="8636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662">
              <a:solidFill>
                <a:prstClr val="white"/>
              </a:solidFill>
            </a:endParaRP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36000" y="288000"/>
            <a:ext cx="9888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031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ЗАГОЛОВОК: </a:t>
            </a:r>
            <a:r>
              <a:rPr lang="en-US" dirty="0"/>
              <a:t>TAHOMA </a:t>
            </a:r>
            <a:r>
              <a:rPr lang="ru-RU" dirty="0"/>
              <a:t>2</a:t>
            </a:r>
            <a:r>
              <a:rPr lang="en-US" dirty="0"/>
              <a:t>2</a:t>
            </a:r>
            <a:r>
              <a:rPr lang="ru-RU" dirty="0"/>
              <a:t> ПТ ОБЫЧНЫЙ, ОКОНЧАНИЕ − ПОЛУЖИРНЫЙ!</a:t>
            </a:r>
          </a:p>
        </p:txBody>
      </p:sp>
      <p:pic>
        <p:nvPicPr>
          <p:cNvPr id="6" name="Picture 2" descr="H:\Moscow Exchange (ex-Micex-RTS) brandbook\MSCW_XCHNG_Master_Logo_Folder\PNG\ENGLISH\MSCW_XCHNG_RGB_EN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967" y="6191261"/>
            <a:ext cx="2220384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176931" y="6209891"/>
            <a:ext cx="578687" cy="365125"/>
          </a:xfrm>
        </p:spPr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071682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 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36000" y="269878"/>
            <a:ext cx="9888000" cy="638845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135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ЗАГОЛОВОК: </a:t>
            </a:r>
            <a:r>
              <a:rPr lang="en-US" dirty="0"/>
              <a:t>TAHOMA 18</a:t>
            </a:r>
            <a:r>
              <a:rPr lang="ru-RU" dirty="0"/>
              <a:t> ПТ ОБЫЧНЫЙ, ОКОНЧАНИЕ − ПОЛУЖИРНЫЙ!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84000" y="6192000"/>
            <a:ext cx="48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Прямоугольник 7">
            <a:extLst>
              <a:ext uri="{FF2B5EF4-FFF2-40B4-BE49-F238E27FC236}">
                <a16:creationId xmlns:a16="http://schemas.microsoft.com/office/drawing/2014/main" id="{35A6C281-7675-4785-AAD3-79625C3E2A42}"/>
              </a:ext>
            </a:extLst>
          </p:cNvPr>
          <p:cNvSpPr/>
          <p:nvPr userDrawn="1"/>
        </p:nvSpPr>
        <p:spPr>
          <a:xfrm>
            <a:off x="359833" y="269875"/>
            <a:ext cx="480000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50"/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99834" y="6192002"/>
            <a:ext cx="187712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376278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4_ 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223436" y="269876"/>
            <a:ext cx="10729217" cy="62075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1800" b="1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SLIDE TITLE GOES HERE: TAHOMA 26 PT LIGHT + BOLD FOR THE TAIL!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84000" y="6192000"/>
            <a:ext cx="48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E4E01335-259E-40F9-B4E1-7E4FDCDF6836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59835" y="269878"/>
            <a:ext cx="863600" cy="631825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163" tIns="51581" rIns="103163" bIns="51581" anchor="ctr"/>
          <a:lstStyle/>
          <a:p>
            <a:pPr algn="ctr">
              <a:defRPr/>
            </a:pPr>
            <a:endParaRPr lang="ru-RU" sz="1800" dirty="0">
              <a:solidFill>
                <a:prstClr val="white"/>
              </a:solidFill>
            </a:endParaRPr>
          </a:p>
        </p:txBody>
      </p:sp>
      <p:pic>
        <p:nvPicPr>
          <p:cNvPr id="10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60967" y="6191254"/>
            <a:ext cx="2220384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5807968" y="6192000"/>
            <a:ext cx="5280032" cy="360000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89447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vmlDrawing" Target="../drawings/vmlDrawing5.v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5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tags" Target="../tags/tag13.xml"/><Relationship Id="rId3" Type="http://schemas.openxmlformats.org/officeDocument/2006/relationships/slideLayout" Target="../slideLayouts/slideLayout2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vmlDrawing" Target="../drawings/vmlDrawing8.vml"/><Relationship Id="rId2" Type="http://schemas.openxmlformats.org/officeDocument/2006/relationships/slideLayout" Target="../slideLayouts/slideLayout22.xml"/><Relationship Id="rId16" Type="http://schemas.openxmlformats.org/officeDocument/2006/relationships/theme" Target="../theme/theme3.xml"/><Relationship Id="rId20" Type="http://schemas.openxmlformats.org/officeDocument/2006/relationships/oleObject" Target="../embeddings/oleObject8.bin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0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oleObject" Target="../embeddings/oleObject17.bin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tags" Target="../tags/tag26.xml"/><Relationship Id="rId2" Type="http://schemas.openxmlformats.org/officeDocument/2006/relationships/slideLayout" Target="../slideLayouts/slideLayout37.xml"/><Relationship Id="rId16" Type="http://schemas.openxmlformats.org/officeDocument/2006/relationships/tags" Target="../tags/tag25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vmlDrawing" Target="../drawings/vmlDrawing17.vml"/><Relationship Id="rId10" Type="http://schemas.openxmlformats.org/officeDocument/2006/relationships/slideLayout" Target="../slideLayouts/slideLayout45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ags" Target="../tags/tag33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vmlDrawing" Target="../drawings/vmlDrawing22.vml"/><Relationship Id="rId2" Type="http://schemas.openxmlformats.org/officeDocument/2006/relationships/slideLayout" Target="../slideLayouts/slideLayout50.xml"/><Relationship Id="rId16" Type="http://schemas.openxmlformats.org/officeDocument/2006/relationships/image" Target="../media/image17.emf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53.xml"/><Relationship Id="rId15" Type="http://schemas.openxmlformats.org/officeDocument/2006/relationships/oleObject" Target="../embeddings/oleObject22.bin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tags" Target="../tags/tag3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tags" Target="../tags/tag37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tags" Target="../tags/tag36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vmlDrawing" Target="../drawings/vmlDrawing24.vml"/><Relationship Id="rId5" Type="http://schemas.openxmlformats.org/officeDocument/2006/relationships/slideLayout" Target="../slideLayouts/slideLayout63.xml"/><Relationship Id="rId15" Type="http://schemas.openxmlformats.org/officeDocument/2006/relationships/image" Target="../media/image17.emf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oleObject" Target="../embeddings/oleObject24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vmlDrawing" Target="../drawings/vmlDrawing26.v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theme" Target="../theme/theme7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69.xml"/><Relationship Id="rId16" Type="http://schemas.openxmlformats.org/officeDocument/2006/relationships/oleObject" Target="../embeddings/oleObject26.bin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tags" Target="../tags/tag40.xml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tags" Target="../tags/tag3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tags" Target="../tags/tag44.xml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vmlDrawing" Target="../drawings/vmlDrawing30.vml"/><Relationship Id="rId2" Type="http://schemas.openxmlformats.org/officeDocument/2006/relationships/slideLayout" Target="../slideLayouts/slideLayout80.xml"/><Relationship Id="rId16" Type="http://schemas.openxmlformats.org/officeDocument/2006/relationships/image" Target="../media/image17.emf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83.xml"/><Relationship Id="rId15" Type="http://schemas.openxmlformats.org/officeDocument/2006/relationships/oleObject" Target="../embeddings/oleObject30.bin"/><Relationship Id="rId10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tags" Target="../tags/tag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0196883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4" name="Слайд think-cell" r:id="rId16" imgW="270" imgH="270" progId="TCLayout.ActiveDocument.1">
                  <p:embed/>
                </p:oleObj>
              </mc:Choice>
              <mc:Fallback>
                <p:oleObj name="Слайд think-cell" r:id="rId16" imgW="270" imgH="270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4400" b="0" i="0" baseline="0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1343051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1343051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376587" y="6356351"/>
            <a:ext cx="5760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E01335-259E-40F9-B4E1-7E4FDCDF6836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4607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701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46" r:id="rId10"/>
    <p:sldLayoutId id="2147483747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82667773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4" name="Слайд think-cell" r:id="rId14" imgW="270" imgH="270" progId="TCLayout.ActiveDocument.1">
                  <p:embed/>
                </p:oleObj>
              </mc:Choice>
              <mc:Fallback>
                <p:oleObj name="Слайд think-cell" r:id="rId14" imgW="270" imgH="270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4400" b="0" i="0" baseline="0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7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8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06" name="Слайд think-cell" r:id="rId20" imgW="270" imgH="270" progId="TCLayout.ActiveDocument.1">
                  <p:embed/>
                </p:oleObj>
              </mc:Choice>
              <mc:Fallback>
                <p:oleObj name="Слайд think-cell" r:id="rId20" imgW="270" imgH="270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>
              <a:solidFill>
                <a:prstClr val="white"/>
              </a:solidFill>
              <a:sym typeface="Tahoma" panose="020B060403050404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1343051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1343051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376587" y="6356351"/>
            <a:ext cx="5760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E01335-259E-40F9-B4E1-7E4FDCDF6836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9029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23" name="Слайд think-cell" r:id="rId18" imgW="270" imgH="270" progId="TCLayout.ActiveDocument.1">
                  <p:embed/>
                </p:oleObj>
              </mc:Choice>
              <mc:Fallback>
                <p:oleObj name="Слайд think-cell" r:id="rId18" imgW="270" imgH="270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4400" b="0" i="0" baseline="0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4982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  <p:sldLayoutId id="2147483781" r:id="rId8"/>
    <p:sldLayoutId id="2147483782" r:id="rId9"/>
    <p:sldLayoutId id="2147483783" r:id="rId10"/>
    <p:sldLayoutId id="2147483784" r:id="rId11"/>
    <p:sldLayoutId id="2147483785" r:id="rId12"/>
    <p:sldLayoutId id="2147483786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74330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84" name="Слайд think-cell" r:id="rId15" imgW="360" imgH="360" progId="TCLayout.ActiveDocument.1">
                  <p:embed/>
                </p:oleObj>
              </mc:Choice>
              <mc:Fallback>
                <p:oleObj name="Слайд think-cell" r:id="rId1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4400" b="0" i="0" baseline="0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6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6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8737600" y="635636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5824D8-E4B2-4879-9E59-0A10E3F7F3E1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2964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798" r:id="rId10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463533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08" name="Слайд think-cell" r:id="rId14" imgW="360" imgH="360" progId="TCLayout.ActiveDocument.1">
                  <p:embed/>
                </p:oleObj>
              </mc:Choice>
              <mc:Fallback>
                <p:oleObj name="Слайд think-cell" r:id="rId1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4062" b="0" i="0" baseline="0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6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srgbClr val="000000">
                  <a:tint val="75000"/>
                </a:srgbClr>
              </a:solidFill>
              <a:ea typeface="ＭＳ Ｐゴシック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6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srgbClr val="000000">
                  <a:tint val="75000"/>
                </a:srgbClr>
              </a:solidFill>
              <a:ea typeface="ＭＳ Ｐゴシック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8737600" y="635636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  <a:ea typeface="ＭＳ Ｐゴシック"/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020289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</p:sldLayoutIdLst>
  <p:hf hdr="0" ftr="0"/>
  <p:txStyles>
    <p:titleStyle>
      <a:lvl1pPr algn="ctr" defTabSz="844083" rtl="0" eaLnBrk="1" latinLnBrk="0" hangingPunct="1">
        <a:spcBef>
          <a:spcPct val="0"/>
        </a:spcBef>
        <a:buNone/>
        <a:defRPr sz="406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6531" indent="-316531" algn="l" defTabSz="844083" rtl="0" eaLnBrk="1" latinLnBrk="0" hangingPunct="1">
        <a:spcBef>
          <a:spcPct val="20000"/>
        </a:spcBef>
        <a:buFont typeface="Arial" pitchFamily="34" charset="0"/>
        <a:buChar char="•"/>
        <a:defRPr sz="2954" kern="1200">
          <a:solidFill>
            <a:schemeClr val="tx1"/>
          </a:solidFill>
          <a:latin typeface="+mn-lt"/>
          <a:ea typeface="+mn-ea"/>
          <a:cs typeface="+mn-cs"/>
        </a:defRPr>
      </a:lvl1pPr>
      <a:lvl2pPr marL="685817" indent="-263776" algn="l" defTabSz="844083" rtl="0" eaLnBrk="1" latinLnBrk="0" hangingPunct="1">
        <a:spcBef>
          <a:spcPct val="20000"/>
        </a:spcBef>
        <a:buFont typeface="Arial" pitchFamily="34" charset="0"/>
        <a:buChar char="–"/>
        <a:defRPr sz="2585" kern="1200">
          <a:solidFill>
            <a:schemeClr val="tx1"/>
          </a:solidFill>
          <a:latin typeface="+mn-lt"/>
          <a:ea typeface="+mn-ea"/>
          <a:cs typeface="+mn-cs"/>
        </a:defRPr>
      </a:lvl2pPr>
      <a:lvl3pPr marL="1055103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477145" indent="-211021" algn="l" defTabSz="844083" rtl="0" eaLnBrk="1" latinLnBrk="0" hangingPunct="1">
        <a:spcBef>
          <a:spcPct val="20000"/>
        </a:spcBef>
        <a:buFont typeface="Arial" pitchFamily="34" charset="0"/>
        <a:buChar char="–"/>
        <a:defRPr sz="1846" kern="1200">
          <a:solidFill>
            <a:schemeClr val="tx1"/>
          </a:solidFill>
          <a:latin typeface="+mn-lt"/>
          <a:ea typeface="+mn-ea"/>
          <a:cs typeface="+mn-cs"/>
        </a:defRPr>
      </a:lvl4pPr>
      <a:lvl5pPr marL="1899186" indent="-211021" algn="l" defTabSz="844083" rtl="0" eaLnBrk="1" latinLnBrk="0" hangingPunct="1">
        <a:spcBef>
          <a:spcPct val="20000"/>
        </a:spcBef>
        <a:buFont typeface="Arial" pitchFamily="34" charset="0"/>
        <a:buChar char="»"/>
        <a:defRPr sz="1846" kern="1200">
          <a:solidFill>
            <a:schemeClr val="tx1"/>
          </a:solidFill>
          <a:latin typeface="+mn-lt"/>
          <a:ea typeface="+mn-ea"/>
          <a:cs typeface="+mn-cs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90" name="Слайд think-cell" r:id="rId16" imgW="270" imgH="270" progId="TCLayout.ActiveDocument.1">
                  <p:embed/>
                </p:oleObj>
              </mc:Choice>
              <mc:Fallback>
                <p:oleObj name="Слайд think-cell" r:id="rId16" imgW="270" imgH="270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4400" b="0" i="0" baseline="0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1343051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1343051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376587" y="6356351"/>
            <a:ext cx="5760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E01335-259E-40F9-B4E1-7E4FDCDF6836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058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67167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32" name="Слайд think-cell" r:id="rId15" imgW="360" imgH="360" progId="TCLayout.ActiveDocument.1">
                  <p:embed/>
                </p:oleObj>
              </mc:Choice>
              <mc:Fallback>
                <p:oleObj name="Слайд think-cell" r:id="rId1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4062" b="0" i="0" baseline="0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6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srgbClr val="000000">
                  <a:tint val="75000"/>
                </a:srgbClr>
              </a:solidFill>
              <a:ea typeface="ＭＳ Ｐゴシック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6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srgbClr val="000000">
                  <a:tint val="75000"/>
                </a:srgbClr>
              </a:solidFill>
              <a:ea typeface="ＭＳ Ｐゴシック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8737600" y="635636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  <a:ea typeface="ＭＳ Ｐゴシック"/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136463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  <p:sldLayoutId id="2147483834" r:id="rId9"/>
    <p:sldLayoutId id="2147483836" r:id="rId10"/>
  </p:sldLayoutIdLst>
  <p:hf hdr="0" ftr="0"/>
  <p:txStyles>
    <p:titleStyle>
      <a:lvl1pPr algn="ctr" defTabSz="844083" rtl="0" eaLnBrk="1" latinLnBrk="0" hangingPunct="1">
        <a:spcBef>
          <a:spcPct val="0"/>
        </a:spcBef>
        <a:buNone/>
        <a:defRPr sz="406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6531" indent="-316531" algn="l" defTabSz="844083" rtl="0" eaLnBrk="1" latinLnBrk="0" hangingPunct="1">
        <a:spcBef>
          <a:spcPct val="20000"/>
        </a:spcBef>
        <a:buFont typeface="Arial" pitchFamily="34" charset="0"/>
        <a:buChar char="•"/>
        <a:defRPr sz="2954" kern="1200">
          <a:solidFill>
            <a:schemeClr val="tx1"/>
          </a:solidFill>
          <a:latin typeface="+mn-lt"/>
          <a:ea typeface="+mn-ea"/>
          <a:cs typeface="+mn-cs"/>
        </a:defRPr>
      </a:lvl1pPr>
      <a:lvl2pPr marL="685817" indent="-263776" algn="l" defTabSz="844083" rtl="0" eaLnBrk="1" latinLnBrk="0" hangingPunct="1">
        <a:spcBef>
          <a:spcPct val="20000"/>
        </a:spcBef>
        <a:buFont typeface="Arial" pitchFamily="34" charset="0"/>
        <a:buChar char="–"/>
        <a:defRPr sz="2585" kern="1200">
          <a:solidFill>
            <a:schemeClr val="tx1"/>
          </a:solidFill>
          <a:latin typeface="+mn-lt"/>
          <a:ea typeface="+mn-ea"/>
          <a:cs typeface="+mn-cs"/>
        </a:defRPr>
      </a:lvl2pPr>
      <a:lvl3pPr marL="1055103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477145" indent="-211021" algn="l" defTabSz="844083" rtl="0" eaLnBrk="1" latinLnBrk="0" hangingPunct="1">
        <a:spcBef>
          <a:spcPct val="20000"/>
        </a:spcBef>
        <a:buFont typeface="Arial" pitchFamily="34" charset="0"/>
        <a:buChar char="–"/>
        <a:defRPr sz="1846" kern="1200">
          <a:solidFill>
            <a:schemeClr val="tx1"/>
          </a:solidFill>
          <a:latin typeface="+mn-lt"/>
          <a:ea typeface="+mn-ea"/>
          <a:cs typeface="+mn-cs"/>
        </a:defRPr>
      </a:lvl4pPr>
      <a:lvl5pPr marL="1899186" indent="-211021" algn="l" defTabSz="844083" rtl="0" eaLnBrk="1" latinLnBrk="0" hangingPunct="1">
        <a:spcBef>
          <a:spcPct val="20000"/>
        </a:spcBef>
        <a:buFont typeface="Arial" pitchFamily="34" charset="0"/>
        <a:buChar char="»"/>
        <a:defRPr sz="1846" kern="1200">
          <a:solidFill>
            <a:schemeClr val="tx1"/>
          </a:solidFill>
          <a:latin typeface="+mn-lt"/>
          <a:ea typeface="+mn-ea"/>
          <a:cs typeface="+mn-cs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621D25CC-15C9-4F84-AEAA-C7476760F45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308" y="6041641"/>
            <a:ext cx="2287524" cy="544038"/>
          </a:xfrm>
          <a:prstGeom prst="rect">
            <a:avLst/>
          </a:prstGeom>
        </p:spPr>
      </p:pic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B936296-7FB8-49C8-8F49-AE0D024488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1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31E1B378-713F-4FCF-8D9E-86DA95D99B30}"/>
              </a:ext>
            </a:extLst>
          </p:cNvPr>
          <p:cNvCxnSpPr/>
          <p:nvPr/>
        </p:nvCxnSpPr>
        <p:spPr>
          <a:xfrm>
            <a:off x="1536000" y="781878"/>
            <a:ext cx="1028254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B62B0EA-AD0A-403F-93DB-3B46C0FAA3EC}"/>
              </a:ext>
            </a:extLst>
          </p:cNvPr>
          <p:cNvSpPr/>
          <p:nvPr/>
        </p:nvSpPr>
        <p:spPr>
          <a:xfrm>
            <a:off x="1428808" y="244110"/>
            <a:ext cx="1001877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Критерии приема облигаций в обеспечение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F4CD3B8D-4536-4DA1-93E9-76BDFFCD1623}"/>
              </a:ext>
            </a:extLst>
          </p:cNvPr>
          <p:cNvSpPr/>
          <p:nvPr/>
        </p:nvSpPr>
        <p:spPr>
          <a:xfrm>
            <a:off x="1536000" y="910118"/>
            <a:ext cx="4206494" cy="28802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/>
              <a:t>Критерий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71D43A05-8DBE-4B72-9E7E-8809E159376B}"/>
              </a:ext>
            </a:extLst>
          </p:cNvPr>
          <p:cNvSpPr/>
          <p:nvPr/>
        </p:nvSpPr>
        <p:spPr>
          <a:xfrm>
            <a:off x="5934599" y="910118"/>
            <a:ext cx="5878207" cy="28802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/>
              <a:t>Требование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56868FBF-74C1-4AD3-86FD-12220312BBFD}"/>
              </a:ext>
            </a:extLst>
          </p:cNvPr>
          <p:cNvSpPr/>
          <p:nvPr/>
        </p:nvSpPr>
        <p:spPr>
          <a:xfrm>
            <a:off x="1536000" y="1292448"/>
            <a:ext cx="4206494" cy="9645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rgbClr val="C00000"/>
                </a:solidFill>
              </a:rPr>
              <a:t>Внешний рейтинг</a:t>
            </a:r>
          </a:p>
          <a:p>
            <a:r>
              <a:rPr lang="ru-RU" sz="1200" dirty="0">
                <a:solidFill>
                  <a:schemeClr val="tx1"/>
                </a:solidFill>
              </a:rPr>
              <a:t>Наличие рейтинга эмиссии, либо, в случае отсутствия рейтинга эмиссии, рейтинга эмитента, присвоенного </a:t>
            </a:r>
            <a:r>
              <a:rPr lang="en-US" sz="1200" dirty="0">
                <a:solidFill>
                  <a:schemeClr val="tx1"/>
                </a:solidFill>
              </a:rPr>
              <a:t>A</a:t>
            </a:r>
            <a:r>
              <a:rPr lang="ru-RU" sz="1200" dirty="0">
                <a:solidFill>
                  <a:schemeClr val="tx1"/>
                </a:solidFill>
              </a:rPr>
              <a:t>С</a:t>
            </a:r>
            <a:r>
              <a:rPr lang="en-US" sz="1200" dirty="0">
                <a:solidFill>
                  <a:schemeClr val="tx1"/>
                </a:solidFill>
              </a:rPr>
              <a:t>RA, RAEX,</a:t>
            </a:r>
            <a:r>
              <a:rPr lang="ru-RU" sz="1200" dirty="0">
                <a:solidFill>
                  <a:schemeClr val="tx1"/>
                </a:solidFill>
              </a:rPr>
              <a:t> </a:t>
            </a:r>
            <a:r>
              <a:rPr lang="en-US" sz="1200" dirty="0">
                <a:solidFill>
                  <a:schemeClr val="tx1"/>
                </a:solidFill>
              </a:rPr>
              <a:t>Moody’s Investor Services, Standard &amp;</a:t>
            </a:r>
          </a:p>
          <a:p>
            <a:r>
              <a:rPr lang="en-US" sz="1200" dirty="0">
                <a:solidFill>
                  <a:schemeClr val="tx1"/>
                </a:solidFill>
              </a:rPr>
              <a:t>Poor’s Financial Services, Fitch Ratings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CF6DA2CF-C446-4CAC-9E94-3EDA8F6D0E6A}"/>
              </a:ext>
            </a:extLst>
          </p:cNvPr>
          <p:cNvSpPr/>
          <p:nvPr/>
        </p:nvSpPr>
        <p:spPr>
          <a:xfrm>
            <a:off x="5934599" y="1292448"/>
            <a:ext cx="5878207" cy="9645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</a:rPr>
              <a:t>Не ниже </a:t>
            </a:r>
            <a:r>
              <a:rPr lang="en-US" sz="1200" dirty="0">
                <a:solidFill>
                  <a:schemeClr val="tx1"/>
                </a:solidFill>
              </a:rPr>
              <a:t>investment grade</a:t>
            </a:r>
            <a:r>
              <a:rPr lang="ru-RU" sz="1200" dirty="0">
                <a:solidFill>
                  <a:schemeClr val="tx1"/>
                </a:solidFill>
              </a:rPr>
              <a:t>*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61FC3741-7254-478C-B3D9-AB0CDCE7D55E}"/>
              </a:ext>
            </a:extLst>
          </p:cNvPr>
          <p:cNvSpPr/>
          <p:nvPr/>
        </p:nvSpPr>
        <p:spPr>
          <a:xfrm>
            <a:off x="1535576" y="2302845"/>
            <a:ext cx="4206494" cy="5232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rgbClr val="C00000"/>
                </a:solidFill>
              </a:rPr>
              <a:t>Внутренний рейтинг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D2A6E3CA-6E72-4C83-AE1F-9AEBC3A57FC9}"/>
              </a:ext>
            </a:extLst>
          </p:cNvPr>
          <p:cNvSpPr/>
          <p:nvPr/>
        </p:nvSpPr>
        <p:spPr>
          <a:xfrm>
            <a:off x="5934175" y="2302845"/>
            <a:ext cx="5878207" cy="5232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</a:rPr>
              <a:t>Соответствие требованиям НКО НКЦ (АО) 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F2713152-43EF-4982-A061-7A5CCDC06F98}"/>
              </a:ext>
            </a:extLst>
          </p:cNvPr>
          <p:cNvSpPr/>
          <p:nvPr/>
        </p:nvSpPr>
        <p:spPr>
          <a:xfrm>
            <a:off x="1535576" y="2883883"/>
            <a:ext cx="4206494" cy="7871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rgbClr val="C00000"/>
                </a:solidFill>
              </a:rPr>
              <a:t>Тип облигации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E5F2FD02-12A4-49B3-83CD-6A3D4F984986}"/>
              </a:ext>
            </a:extLst>
          </p:cNvPr>
          <p:cNvSpPr/>
          <p:nvPr/>
        </p:nvSpPr>
        <p:spPr>
          <a:xfrm>
            <a:off x="5934175" y="2883883"/>
            <a:ext cx="5878207" cy="7871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</a:rPr>
              <a:t>Ценная бумага не является:</a:t>
            </a:r>
          </a:p>
          <a:p>
            <a:r>
              <a:rPr lang="ru-RU" sz="1200" dirty="0">
                <a:solidFill>
                  <a:schemeClr val="tx1"/>
                </a:solidFill>
              </a:rPr>
              <a:t>• субординированной облигацией</a:t>
            </a:r>
          </a:p>
          <a:p>
            <a:r>
              <a:rPr lang="ru-RU" sz="1200" dirty="0">
                <a:solidFill>
                  <a:schemeClr val="tx1"/>
                </a:solidFill>
              </a:rPr>
              <a:t>• ипотечной облигацией</a:t>
            </a:r>
          </a:p>
          <a:p>
            <a:r>
              <a:rPr lang="ru-RU" sz="1200" dirty="0">
                <a:solidFill>
                  <a:schemeClr val="tx1"/>
                </a:solidFill>
              </a:rPr>
              <a:t>• структурной облигацией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D712DE8D-6700-4B66-8786-A94CB12E3C1A}"/>
              </a:ext>
            </a:extLst>
          </p:cNvPr>
          <p:cNvSpPr/>
          <p:nvPr/>
        </p:nvSpPr>
        <p:spPr>
          <a:xfrm>
            <a:off x="1535576" y="3728823"/>
            <a:ext cx="4206494" cy="7871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rgbClr val="C00000"/>
                </a:solidFill>
              </a:rPr>
              <a:t>Условия выпуска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1CC0845D-A927-4E5C-91CC-DA0CE3915357}"/>
              </a:ext>
            </a:extLst>
          </p:cNvPr>
          <p:cNvSpPr/>
          <p:nvPr/>
        </p:nvSpPr>
        <p:spPr>
          <a:xfrm>
            <a:off x="5934175" y="3728823"/>
            <a:ext cx="5878207" cy="7871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</a:rPr>
              <a:t>Является рыночным выпуском (объем выпуска не менее 5 млрд рублей, а также не содержит иных условий выпуска, существенно отличающихся от других облигаций на рынке)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2FE461C8-4643-451A-9EA0-FC195EA5413A}"/>
              </a:ext>
            </a:extLst>
          </p:cNvPr>
          <p:cNvSpPr/>
          <p:nvPr/>
        </p:nvSpPr>
        <p:spPr>
          <a:xfrm>
            <a:off x="1535576" y="4583467"/>
            <a:ext cx="1028254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dirty="0"/>
              <a:t>Если облигация не принимается в качестве обеспечения по операциям кредитования Банка России и не удовлетворяет критериям ликвидности Банка России (в соответствии с Положением Банка России от 30 мая 2014 года № 421-П «О порядке расчета показателя краткосрочной ликвидности («Базель III»)»), то в отношении такой облигации применяется повышающий коэффициент для ставок рыночного риска.</a:t>
            </a: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800A4AD5-58FA-4539-B5DF-2C1EC890A638}"/>
              </a:ext>
            </a:extLst>
          </p:cNvPr>
          <p:cNvCxnSpPr>
            <a:cxnSpLocks/>
          </p:cNvCxnSpPr>
          <p:nvPr/>
        </p:nvCxnSpPr>
        <p:spPr>
          <a:xfrm>
            <a:off x="1535576" y="4537906"/>
            <a:ext cx="102825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0D12B3C6-2DB9-43D2-8D9A-5F02E5D70178}"/>
              </a:ext>
            </a:extLst>
          </p:cNvPr>
          <p:cNvSpPr txBox="1"/>
          <p:nvPr/>
        </p:nvSpPr>
        <p:spPr>
          <a:xfrm>
            <a:off x="2919768" y="6127593"/>
            <a:ext cx="421301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i="1" dirty="0"/>
              <a:t>*</a:t>
            </a:r>
            <a:r>
              <a:rPr lang="en-US" sz="1000" i="1" dirty="0"/>
              <a:t>Moody’s – </a:t>
            </a:r>
            <a:r>
              <a:rPr lang="en-US" sz="1000" i="1" dirty="0">
                <a:solidFill>
                  <a:srgbClr val="C8102E"/>
                </a:solidFill>
              </a:rPr>
              <a:t>Baa3</a:t>
            </a:r>
            <a:r>
              <a:rPr lang="en-US" sz="1000" i="1" dirty="0"/>
              <a:t>, S&amp;P </a:t>
            </a:r>
            <a:r>
              <a:rPr lang="ru-RU" sz="1000" i="1" dirty="0"/>
              <a:t>и</a:t>
            </a:r>
            <a:r>
              <a:rPr lang="en-US" sz="1000" i="1" dirty="0"/>
              <a:t> Fitch – </a:t>
            </a:r>
            <a:r>
              <a:rPr lang="en-US" sz="1000" i="1" dirty="0">
                <a:solidFill>
                  <a:srgbClr val="C8102E"/>
                </a:solidFill>
              </a:rPr>
              <a:t>BBB-</a:t>
            </a:r>
            <a:r>
              <a:rPr lang="en-US" sz="1000" i="1" dirty="0"/>
              <a:t>, ACRA –</a:t>
            </a:r>
            <a:r>
              <a:rPr lang="ru-RU" sz="1000" i="1" dirty="0"/>
              <a:t> </a:t>
            </a:r>
            <a:r>
              <a:rPr lang="en-US" sz="1000" i="1" dirty="0">
                <a:solidFill>
                  <a:srgbClr val="C8102E"/>
                </a:solidFill>
              </a:rPr>
              <a:t>AAA(RU)</a:t>
            </a:r>
            <a:r>
              <a:rPr lang="en-US" sz="1000" i="1" dirty="0"/>
              <a:t>,</a:t>
            </a:r>
            <a:r>
              <a:rPr lang="ru-RU" sz="1000" i="1" dirty="0"/>
              <a:t> </a:t>
            </a:r>
            <a:r>
              <a:rPr lang="en-US" sz="1000" i="1" dirty="0"/>
              <a:t>RAEX – </a:t>
            </a:r>
            <a:r>
              <a:rPr lang="en-US" sz="1000" i="1" dirty="0" err="1">
                <a:solidFill>
                  <a:srgbClr val="C8102E"/>
                </a:solidFill>
              </a:rPr>
              <a:t>ruAAA</a:t>
            </a:r>
            <a:endParaRPr lang="en-US" sz="1000" i="1" dirty="0">
              <a:solidFill>
                <a:srgbClr val="C8102E"/>
              </a:solidFill>
            </a:endParaRPr>
          </a:p>
          <a:p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BE9BF57-D3C2-4D76-9307-D8BDAEC4C1A7}"/>
              </a:ext>
            </a:extLst>
          </p:cNvPr>
          <p:cNvSpPr/>
          <p:nvPr/>
        </p:nvSpPr>
        <p:spPr>
          <a:xfrm>
            <a:off x="1535576" y="5159886"/>
            <a:ext cx="1027680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/>
              <a:t>Пересмотр перечня облигаций</a:t>
            </a:r>
            <a:r>
              <a:rPr lang="ru-RU" sz="1000" dirty="0"/>
              <a:t>, принимаемых в обеспечение происходит в случае:</a:t>
            </a:r>
          </a:p>
          <a:p>
            <a:r>
              <a:rPr lang="ru-RU" sz="1000" dirty="0"/>
              <a:t>• внесения изменений в нормативные документы Банка России, касающиеся требований к квалифицированному ЦК в части принимаемого обеспечения</a:t>
            </a:r>
          </a:p>
          <a:p>
            <a:r>
              <a:rPr lang="ru-RU" sz="1000" dirty="0"/>
              <a:t>• размещения новых выпусков облигаций</a:t>
            </a:r>
          </a:p>
          <a:p>
            <a:r>
              <a:rPr lang="ru-RU" sz="1000" dirty="0"/>
              <a:t>• изменений внешних или внутренних рейтингов эмитентов</a:t>
            </a:r>
          </a:p>
        </p:txBody>
      </p:sp>
    </p:spTree>
    <p:extLst>
      <p:ext uri="{BB962C8B-B14F-4D97-AF65-F5344CB8AC3E}">
        <p14:creationId xmlns:p14="http://schemas.microsoft.com/office/powerpoint/2010/main" val="10051990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621D25CC-15C9-4F84-AEAA-C7476760F45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308" y="6041641"/>
            <a:ext cx="2287524" cy="544038"/>
          </a:xfrm>
          <a:prstGeom prst="rect">
            <a:avLst/>
          </a:prstGeom>
        </p:spPr>
      </p:pic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B936296-7FB8-49C8-8F49-AE0D024488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2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31E1B378-713F-4FCF-8D9E-86DA95D99B30}"/>
              </a:ext>
            </a:extLst>
          </p:cNvPr>
          <p:cNvCxnSpPr/>
          <p:nvPr/>
        </p:nvCxnSpPr>
        <p:spPr>
          <a:xfrm>
            <a:off x="1536000" y="781878"/>
            <a:ext cx="1028254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B62B0EA-AD0A-403F-93DB-3B46C0FAA3EC}"/>
              </a:ext>
            </a:extLst>
          </p:cNvPr>
          <p:cNvSpPr/>
          <p:nvPr/>
        </p:nvSpPr>
        <p:spPr>
          <a:xfrm>
            <a:off x="1428808" y="244110"/>
            <a:ext cx="1001877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Критерии приема акций в обеспечение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F4CD3B8D-4536-4DA1-93E9-76BDFFCD1623}"/>
              </a:ext>
            </a:extLst>
          </p:cNvPr>
          <p:cNvSpPr/>
          <p:nvPr/>
        </p:nvSpPr>
        <p:spPr>
          <a:xfrm>
            <a:off x="1536000" y="910118"/>
            <a:ext cx="4206494" cy="28802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/>
              <a:t>Критерий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71D43A05-8DBE-4B72-9E7E-8809E159376B}"/>
              </a:ext>
            </a:extLst>
          </p:cNvPr>
          <p:cNvSpPr/>
          <p:nvPr/>
        </p:nvSpPr>
        <p:spPr>
          <a:xfrm>
            <a:off x="5934599" y="910118"/>
            <a:ext cx="5878207" cy="28802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/>
              <a:t>Требование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56868FBF-74C1-4AD3-86FD-12220312BBFD}"/>
              </a:ext>
            </a:extLst>
          </p:cNvPr>
          <p:cNvSpPr/>
          <p:nvPr/>
        </p:nvSpPr>
        <p:spPr>
          <a:xfrm>
            <a:off x="1536000" y="1292448"/>
            <a:ext cx="4206494" cy="7469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rgbClr val="C00000"/>
                </a:solidFill>
              </a:rPr>
              <a:t>Включение в индекс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CF6DA2CF-C446-4CAC-9E94-3EDA8F6D0E6A}"/>
              </a:ext>
            </a:extLst>
          </p:cNvPr>
          <p:cNvSpPr/>
          <p:nvPr/>
        </p:nvSpPr>
        <p:spPr>
          <a:xfrm>
            <a:off x="5934599" y="1292448"/>
            <a:ext cx="5878207" cy="7469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</a:rPr>
              <a:t>Ценная бумага включена в базу для расчета Индекса </a:t>
            </a:r>
            <a:r>
              <a:rPr lang="ru-RU" sz="1200" dirty="0" err="1">
                <a:solidFill>
                  <a:schemeClr val="tx1"/>
                </a:solidFill>
              </a:rPr>
              <a:t>МосБиржи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61FC3741-7254-478C-B3D9-AB0CDCE7D55E}"/>
              </a:ext>
            </a:extLst>
          </p:cNvPr>
          <p:cNvSpPr/>
          <p:nvPr/>
        </p:nvSpPr>
        <p:spPr>
          <a:xfrm>
            <a:off x="1535576" y="2103618"/>
            <a:ext cx="4206494" cy="5232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rgbClr val="C00000"/>
                </a:solidFill>
              </a:rPr>
              <a:t>Внутренний рейтинг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D2A6E3CA-6E72-4C83-AE1F-9AEBC3A57FC9}"/>
              </a:ext>
            </a:extLst>
          </p:cNvPr>
          <p:cNvSpPr/>
          <p:nvPr/>
        </p:nvSpPr>
        <p:spPr>
          <a:xfrm>
            <a:off x="5934175" y="2103618"/>
            <a:ext cx="5878207" cy="5232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</a:rPr>
              <a:t>Соответствие требованиям НКО НКЦ (АО) 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9C1B945-BD41-4AF1-9DF5-2E2F1138B7E2}"/>
              </a:ext>
            </a:extLst>
          </p:cNvPr>
          <p:cNvSpPr/>
          <p:nvPr/>
        </p:nvSpPr>
        <p:spPr>
          <a:xfrm>
            <a:off x="1535576" y="2760996"/>
            <a:ext cx="1027680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/>
              <a:t>Пересмотр перечня акций</a:t>
            </a:r>
            <a:r>
              <a:rPr lang="ru-RU" sz="1000" dirty="0"/>
              <a:t>, принимаемых в обеспечение происходит в случае:</a:t>
            </a:r>
          </a:p>
          <a:p>
            <a:r>
              <a:rPr lang="ru-RU" sz="1000" dirty="0"/>
              <a:t>• внесения изменений в нормативные документы Банка России, касающиеся требований к квалифицированному ЦК в части принимаемого обеспечения</a:t>
            </a:r>
          </a:p>
          <a:p>
            <a:r>
              <a:rPr lang="ru-RU" sz="1000" dirty="0"/>
              <a:t>• изменений в базе расчета Индекса </a:t>
            </a:r>
            <a:r>
              <a:rPr lang="ru-RU" sz="1000" dirty="0" err="1"/>
              <a:t>МосБиржи</a:t>
            </a:r>
            <a:endParaRPr lang="ru-RU" sz="1000" dirty="0"/>
          </a:p>
          <a:p>
            <a:r>
              <a:rPr lang="ru-RU" sz="1000" dirty="0"/>
              <a:t>• изменения внутренних рейтингов эмитентов акций</a:t>
            </a:r>
          </a:p>
        </p:txBody>
      </p:sp>
    </p:spTree>
    <p:extLst>
      <p:ext uri="{BB962C8B-B14F-4D97-AF65-F5344CB8AC3E}">
        <p14:creationId xmlns:p14="http://schemas.microsoft.com/office/powerpoint/2010/main" val="17497580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0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bNumberIsYear val=&quot;0&quot;/&gt;&lt;m_strFormatTime&gt;%m.%Y&lt;/m_strFormatTime&gt;&lt;m_yearfmt&gt;&lt;begin val=&quot;0&quot;/&gt;&lt;end val=&quot;0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8&quot;&gt;&lt;elem m_fUsage=&quot;3.26720089086027920544E+00&quot;&gt;&lt;m_msothmcolidx val=&quot;0&quot;/&gt;&lt;m_rgb r=&quot;C8&quot; g=&quot;10&quot; b=&quot;2E&quot;/&gt;&lt;m_nBrightness endver=&quot;26206&quot; val=&quot;0&quot;/&gt;&lt;/elem&gt;&lt;elem m_fUsage=&quot;1.59556435359056969503E+00&quot;&gt;&lt;m_msothmcolidx val=&quot;0&quot;/&gt;&lt;m_rgb r=&quot;CF&quot; g=&quot;7F&quot; b=&quot;7F&quot;/&gt;&lt;m_nBrightness endver=&quot;26206&quot; val=&quot;0&quot;/&gt;&lt;/elem&gt;&lt;elem m_fUsage=&quot;1.26044100000000014461E+00&quot;&gt;&lt;m_msothmcolidx val=&quot;0&quot;/&gt;&lt;m_rgb r=&quot;C0&quot; g=&quot;54&quot; b=&quot;54&quot;/&gt;&lt;m_nBrightness endver=&quot;26206&quot; val=&quot;0&quot;/&gt;&lt;/elem&gt;&lt;elem m_fUsage=&quot;1.00000000000000000000E+00&quot;&gt;&lt;m_msothmcolidx val=&quot;0&quot;/&gt;&lt;m_rgb r=&quot;E9&quot; g=&quot;C5&quot; b=&quot;C5&quot;/&gt;&lt;m_nBrightness endver=&quot;26206&quot; val=&quot;0&quot;/&gt;&lt;/elem&gt;&lt;elem m_fUsage=&quot;9.00000000000000022204E-01&quot;&gt;&lt;m_msothmcolidx val=&quot;0&quot;/&gt;&lt;m_rgb r=&quot;33&quot; g=&quot;66&quot; b=&quot;99&quot;/&gt;&lt;m_nBrightness endver=&quot;26206&quot; val=&quot;0&quot;/&gt;&lt;/elem&gt;&lt;elem m_fUsage=&quot;8.10000000000000053291E-01&quot;&gt;&lt;m_msothmcolidx val=&quot;0&quot;/&gt;&lt;m_rgb r=&quot;B6&quot; g=&quot;44&quot; b=&quot;44&quot;/&gt;&lt;m_nBrightness endver=&quot;26206&quot; val=&quot;0&quot;/&gt;&lt;/elem&gt;&lt;elem m_fUsage=&quot;3.13810596090000171188E-01&quot;&gt;&lt;m_msothmcolidx val=&quot;0&quot;/&gt;&lt;m_rgb r=&quot;00&quot; g=&quot;70&quot; b=&quot;C0&quot;/&gt;&lt;m_nBrightness endver=&quot;26206&quot; val=&quot;0&quot;/&gt;&lt;/elem&gt;&lt;elem m_fUsage=&quot;1.35085171767299283552E-01&quot;&gt;&lt;m_msothmcolidx val=&quot;0&quot;/&gt;&lt;m_rgb r=&quot;78&quot; g=&quot;29&quot; b=&quot;25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COgra96_QNYnAD0Hgg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sqUHQHjCHJ799TDnsf7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sarFMlkFbgkzfQhpA3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1uclHO4SCiHiDzGl8b5G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Xo7gCCSXKbJqCfzYAIA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sJg4paUvidhnO5SqniA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lBODnEq1_iXBUup1SJ1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Na9x80Ljyop3ml0uKoX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cxtMrTEzUFgI6krtb9H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JcpLwM9OMWFB8kIRyAc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m8Zy0_W86LpEMqyGYz9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Na9x80Ljyop3ml0uKoX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EIrfkveRBNVzb9uZn_1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rFvfaBcw9Q9h2YjJRS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Презентация_eng_adapt">
  <a:themeElements>
    <a:clrScheme name="Корпоративный красный">
      <a:dk1>
        <a:srgbClr val="000000"/>
      </a:dk1>
      <a:lt1>
        <a:sysClr val="window" lastClr="FFFFFF"/>
      </a:lt1>
      <a:dk2>
        <a:srgbClr val="CCCCCC"/>
      </a:dk2>
      <a:lt2>
        <a:srgbClr val="E6E6E6"/>
      </a:lt2>
      <a:accent1>
        <a:srgbClr val="C8102E"/>
      </a:accent1>
      <a:accent2>
        <a:srgbClr val="CF7F7F"/>
      </a:accent2>
      <a:accent3>
        <a:srgbClr val="616365"/>
      </a:accent3>
      <a:accent4>
        <a:srgbClr val="51626F"/>
      </a:accent4>
      <a:accent5>
        <a:srgbClr val="6D6F64"/>
      </a:accent5>
      <a:accent6>
        <a:srgbClr val="5D4F4B"/>
      </a:accent6>
      <a:hlink>
        <a:srgbClr val="593160"/>
      </a:hlink>
      <a:folHlink>
        <a:srgbClr val="8D3C1E"/>
      </a:folHlink>
    </a:clrScheme>
    <a:fontScheme name="Moscow Exchange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Презентация_рус_адапт">
  <a:themeElements>
    <a:clrScheme name="Корпоративный красный">
      <a:dk1>
        <a:srgbClr val="000000"/>
      </a:dk1>
      <a:lt1>
        <a:sysClr val="window" lastClr="FFFFFF"/>
      </a:lt1>
      <a:dk2>
        <a:srgbClr val="CCCCCC"/>
      </a:dk2>
      <a:lt2>
        <a:srgbClr val="E6E6E6"/>
      </a:lt2>
      <a:accent1>
        <a:srgbClr val="C8102E"/>
      </a:accent1>
      <a:accent2>
        <a:srgbClr val="CF7F7F"/>
      </a:accent2>
      <a:accent3>
        <a:srgbClr val="616365"/>
      </a:accent3>
      <a:accent4>
        <a:srgbClr val="51626F"/>
      </a:accent4>
      <a:accent5>
        <a:srgbClr val="6D6F64"/>
      </a:accent5>
      <a:accent6>
        <a:srgbClr val="5D4F4B"/>
      </a:accent6>
      <a:hlink>
        <a:srgbClr val="593160"/>
      </a:hlink>
      <a:folHlink>
        <a:srgbClr val="8D3C1E"/>
      </a:folHlink>
    </a:clrScheme>
    <a:fontScheme name="Moscow Exchange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Презентация_eng_adapt">
  <a:themeElements>
    <a:clrScheme name="Корпоративный красный">
      <a:dk1>
        <a:srgbClr val="000000"/>
      </a:dk1>
      <a:lt1>
        <a:sysClr val="window" lastClr="FFFFFF"/>
      </a:lt1>
      <a:dk2>
        <a:srgbClr val="CCCCCC"/>
      </a:dk2>
      <a:lt2>
        <a:srgbClr val="E6E6E6"/>
      </a:lt2>
      <a:accent1>
        <a:srgbClr val="C8102E"/>
      </a:accent1>
      <a:accent2>
        <a:srgbClr val="CF7F7F"/>
      </a:accent2>
      <a:accent3>
        <a:srgbClr val="616365"/>
      </a:accent3>
      <a:accent4>
        <a:srgbClr val="51626F"/>
      </a:accent4>
      <a:accent5>
        <a:srgbClr val="6D6F64"/>
      </a:accent5>
      <a:accent6>
        <a:srgbClr val="5D4F4B"/>
      </a:accent6>
      <a:hlink>
        <a:srgbClr val="593160"/>
      </a:hlink>
      <a:folHlink>
        <a:srgbClr val="8D3C1E"/>
      </a:folHlink>
    </a:clrScheme>
    <a:fontScheme name="Moscow Exchange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Презентация_рус_адапт">
  <a:themeElements>
    <a:clrScheme name="Корпоративный красный">
      <a:dk1>
        <a:srgbClr val="000000"/>
      </a:dk1>
      <a:lt1>
        <a:sysClr val="window" lastClr="FFFFFF"/>
      </a:lt1>
      <a:dk2>
        <a:srgbClr val="CCCCCC"/>
      </a:dk2>
      <a:lt2>
        <a:srgbClr val="E6E6E6"/>
      </a:lt2>
      <a:accent1>
        <a:srgbClr val="C8102E"/>
      </a:accent1>
      <a:accent2>
        <a:srgbClr val="CF7F7F"/>
      </a:accent2>
      <a:accent3>
        <a:srgbClr val="616365"/>
      </a:accent3>
      <a:accent4>
        <a:srgbClr val="51626F"/>
      </a:accent4>
      <a:accent5>
        <a:srgbClr val="6D6F64"/>
      </a:accent5>
      <a:accent6>
        <a:srgbClr val="5D4F4B"/>
      </a:accent6>
      <a:hlink>
        <a:srgbClr val="593160"/>
      </a:hlink>
      <a:folHlink>
        <a:srgbClr val="8D3C1E"/>
      </a:folHlink>
    </a:clrScheme>
    <a:fontScheme name="Moscow Exchange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Тема1">
  <a:themeElements>
    <a:clrScheme name="Корпоративный красный">
      <a:dk1>
        <a:srgbClr val="000000"/>
      </a:dk1>
      <a:lt1>
        <a:sysClr val="window" lastClr="FFFFFF"/>
      </a:lt1>
      <a:dk2>
        <a:srgbClr val="CCCCCC"/>
      </a:dk2>
      <a:lt2>
        <a:srgbClr val="E6E6E6"/>
      </a:lt2>
      <a:accent1>
        <a:srgbClr val="C8102E"/>
      </a:accent1>
      <a:accent2>
        <a:srgbClr val="CF7F7F"/>
      </a:accent2>
      <a:accent3>
        <a:srgbClr val="616365"/>
      </a:accent3>
      <a:accent4>
        <a:srgbClr val="51626F"/>
      </a:accent4>
      <a:accent5>
        <a:srgbClr val="6D6F64"/>
      </a:accent5>
      <a:accent6>
        <a:srgbClr val="5D4F4B"/>
      </a:accent6>
      <a:hlink>
        <a:srgbClr val="593160"/>
      </a:hlink>
      <a:folHlink>
        <a:srgbClr val="8D3C1E"/>
      </a:folHlink>
    </a:clrScheme>
    <a:fontScheme name="Moscow Exchange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Презентация_eng_adapt">
  <a:themeElements>
    <a:clrScheme name="Корпоративный красный">
      <a:dk1>
        <a:srgbClr val="000000"/>
      </a:dk1>
      <a:lt1>
        <a:sysClr val="window" lastClr="FFFFFF"/>
      </a:lt1>
      <a:dk2>
        <a:srgbClr val="CCCCCC"/>
      </a:dk2>
      <a:lt2>
        <a:srgbClr val="E6E6E6"/>
      </a:lt2>
      <a:accent1>
        <a:srgbClr val="C8102E"/>
      </a:accent1>
      <a:accent2>
        <a:srgbClr val="CF7F7F"/>
      </a:accent2>
      <a:accent3>
        <a:srgbClr val="616365"/>
      </a:accent3>
      <a:accent4>
        <a:srgbClr val="51626F"/>
      </a:accent4>
      <a:accent5>
        <a:srgbClr val="6D6F64"/>
      </a:accent5>
      <a:accent6>
        <a:srgbClr val="5D4F4B"/>
      </a:accent6>
      <a:hlink>
        <a:srgbClr val="593160"/>
      </a:hlink>
      <a:folHlink>
        <a:srgbClr val="8D3C1E"/>
      </a:folHlink>
    </a:clrScheme>
    <a:fontScheme name="Moscow Exchange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4_Презентация_eng_adapt">
  <a:themeElements>
    <a:clrScheme name="Корпоративный красный">
      <a:dk1>
        <a:srgbClr val="000000"/>
      </a:dk1>
      <a:lt1>
        <a:sysClr val="window" lastClr="FFFFFF"/>
      </a:lt1>
      <a:dk2>
        <a:srgbClr val="CCCCCC"/>
      </a:dk2>
      <a:lt2>
        <a:srgbClr val="E6E6E6"/>
      </a:lt2>
      <a:accent1>
        <a:srgbClr val="C8102E"/>
      </a:accent1>
      <a:accent2>
        <a:srgbClr val="CF7F7F"/>
      </a:accent2>
      <a:accent3>
        <a:srgbClr val="616365"/>
      </a:accent3>
      <a:accent4>
        <a:srgbClr val="51626F"/>
      </a:accent4>
      <a:accent5>
        <a:srgbClr val="6D6F64"/>
      </a:accent5>
      <a:accent6>
        <a:srgbClr val="5D4F4B"/>
      </a:accent6>
      <a:hlink>
        <a:srgbClr val="593160"/>
      </a:hlink>
      <a:folHlink>
        <a:srgbClr val="8D3C1E"/>
      </a:folHlink>
    </a:clrScheme>
    <a:fontScheme name="Moscow Exchange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5_Презентация_eng_adapt">
  <a:themeElements>
    <a:clrScheme name="Корпоративный красный">
      <a:dk1>
        <a:srgbClr val="000000"/>
      </a:dk1>
      <a:lt1>
        <a:sysClr val="window" lastClr="FFFFFF"/>
      </a:lt1>
      <a:dk2>
        <a:srgbClr val="CCCCCC"/>
      </a:dk2>
      <a:lt2>
        <a:srgbClr val="E6E6E6"/>
      </a:lt2>
      <a:accent1>
        <a:srgbClr val="C8102E"/>
      </a:accent1>
      <a:accent2>
        <a:srgbClr val="CF7F7F"/>
      </a:accent2>
      <a:accent3>
        <a:srgbClr val="616365"/>
      </a:accent3>
      <a:accent4>
        <a:srgbClr val="51626F"/>
      </a:accent4>
      <a:accent5>
        <a:srgbClr val="6D6F64"/>
      </a:accent5>
      <a:accent6>
        <a:srgbClr val="5D4F4B"/>
      </a:accent6>
      <a:hlink>
        <a:srgbClr val="593160"/>
      </a:hlink>
      <a:folHlink>
        <a:srgbClr val="8D3C1E"/>
      </a:folHlink>
    </a:clrScheme>
    <a:fontScheme name="Moscow Exchange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2810</TotalTime>
  <Words>295</Words>
  <Application>Microsoft Office PowerPoint</Application>
  <PresentationFormat>Широкоэкранный</PresentationFormat>
  <Paragraphs>35</Paragraphs>
  <Slides>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16" baseType="lpstr">
      <vt:lpstr>Arial</vt:lpstr>
      <vt:lpstr>Calibri</vt:lpstr>
      <vt:lpstr>Tahoma</vt:lpstr>
      <vt:lpstr>Verdana</vt:lpstr>
      <vt:lpstr>Wingdings</vt:lpstr>
      <vt:lpstr>1_Презентация_eng_adapt</vt:lpstr>
      <vt:lpstr>Презентация_рус_адапт</vt:lpstr>
      <vt:lpstr>2_Презентация_eng_adapt</vt:lpstr>
      <vt:lpstr>1_Презентация_рус_адапт</vt:lpstr>
      <vt:lpstr>1_Тема1</vt:lpstr>
      <vt:lpstr>3_Презентация_eng_adapt</vt:lpstr>
      <vt:lpstr>4_Презентация_eng_adapt</vt:lpstr>
      <vt:lpstr>5_Презентация_eng_adapt</vt:lpstr>
      <vt:lpstr>Слайд think-cell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ussian equity market on a GDP scale</dc:title>
  <dc:creator>Байбакова Ирина Серафимовна</dc:creator>
  <cp:lastModifiedBy>Киселев Артемий Вячеславович</cp:lastModifiedBy>
  <cp:revision>1225</cp:revision>
  <cp:lastPrinted>2019-08-06T16:36:35Z</cp:lastPrinted>
  <dcterms:created xsi:type="dcterms:W3CDTF">2017-11-13T14:32:02Z</dcterms:created>
  <dcterms:modified xsi:type="dcterms:W3CDTF">2021-06-29T16:10:34Z</dcterms:modified>
</cp:coreProperties>
</file>